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8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0.xml" ContentType="application/vnd.openxmlformats-officedocument.presentationml.notesSlide+xml"/>
  <Override PartName="/ppt/tags/tag17.xml" ContentType="application/vnd.openxmlformats-officedocument.presentationml.tags+xml"/>
  <Override PartName="/ppt/notesSlides/notesSlide11.xml" ContentType="application/vnd.openxmlformats-officedocument.presentationml.notesSlide+xml"/>
  <Override PartName="/ppt/tags/tag18.xml" ContentType="application/vnd.openxmlformats-officedocument.presentationml.tags+xml"/>
  <Override PartName="/ppt/notesSlides/notesSlide12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3.xml" ContentType="application/vnd.openxmlformats-officedocument.presentationml.notesSlide+xml"/>
  <Override PartName="/ppt/tags/tag21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  <p:sldMasterId id="2147483660" r:id="rId2"/>
  </p:sldMasterIdLst>
  <p:notesMasterIdLst>
    <p:notesMasterId r:id="rId26"/>
  </p:notesMasterIdLst>
  <p:handoutMasterIdLst>
    <p:handoutMasterId r:id="rId27"/>
  </p:handoutMasterIdLst>
  <p:sldIdLst>
    <p:sldId id="258" r:id="rId3"/>
    <p:sldId id="279" r:id="rId4"/>
    <p:sldId id="292" r:id="rId5"/>
    <p:sldId id="340" r:id="rId6"/>
    <p:sldId id="295" r:id="rId7"/>
    <p:sldId id="338" r:id="rId8"/>
    <p:sldId id="336" r:id="rId9"/>
    <p:sldId id="322" r:id="rId10"/>
    <p:sldId id="326" r:id="rId11"/>
    <p:sldId id="330" r:id="rId12"/>
    <p:sldId id="333" r:id="rId13"/>
    <p:sldId id="331" r:id="rId14"/>
    <p:sldId id="332" r:id="rId15"/>
    <p:sldId id="334" r:id="rId16"/>
    <p:sldId id="337" r:id="rId17"/>
    <p:sldId id="335" r:id="rId18"/>
    <p:sldId id="327" r:id="rId19"/>
    <p:sldId id="343" r:id="rId20"/>
    <p:sldId id="342" r:id="rId21"/>
    <p:sldId id="318" r:id="rId22"/>
    <p:sldId id="329" r:id="rId23"/>
    <p:sldId id="293" r:id="rId24"/>
    <p:sldId id="284" r:id="rId25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17">
          <p15:clr>
            <a:srgbClr val="A4A3A4"/>
          </p15:clr>
        </p15:guide>
        <p15:guide id="2" orient="horz" pos="3862">
          <p15:clr>
            <a:srgbClr val="A4A3A4"/>
          </p15:clr>
        </p15:guide>
        <p15:guide id="3" orient="horz" pos="3974">
          <p15:clr>
            <a:srgbClr val="A4A3A4"/>
          </p15:clr>
        </p15:guide>
        <p15:guide id="4" pos="295">
          <p15:clr>
            <a:srgbClr val="A4A3A4"/>
          </p15:clr>
        </p15:guide>
        <p15:guide id="5" pos="5465">
          <p15:clr>
            <a:srgbClr val="A4A3A4"/>
          </p15:clr>
        </p15:guide>
        <p15:guide id="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0509A"/>
    <a:srgbClr val="D10A45"/>
    <a:srgbClr val="DB4C7A"/>
    <a:srgbClr val="7F7F7F"/>
    <a:srgbClr val="0066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2" autoAdjust="0"/>
    <p:restoredTop sz="88698" autoAdjust="0"/>
  </p:normalViewPr>
  <p:slideViewPr>
    <p:cSldViewPr snapToObjects="1" showGuides="1">
      <p:cViewPr varScale="1">
        <p:scale>
          <a:sx n="83" d="100"/>
          <a:sy n="83" d="100"/>
        </p:scale>
        <p:origin x="720" y="102"/>
      </p:cViewPr>
      <p:guideLst>
        <p:guide orient="horz" pos="1117"/>
        <p:guide orient="horz" pos="3862"/>
        <p:guide orient="horz" pos="3974"/>
        <p:guide pos="295"/>
        <p:guide pos="5465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39E09DA-B390-48CF-AE7E-411E49542861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</dgm:pt>
    <dgm:pt modelId="{D4239A19-979C-498B-869D-2AE9D15E6F87}">
      <dgm:prSet phldrT="[Text]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Planung</a:t>
          </a:r>
          <a:endParaRPr lang="de-DE" b="1" dirty="0"/>
        </a:p>
      </dgm:t>
    </dgm:pt>
    <dgm:pt modelId="{B1AA1930-5839-46FE-9379-7780ECAC5616}" type="parTrans" cxnId="{0F46E1CE-2D25-4A83-9986-CCD912E88581}">
      <dgm:prSet/>
      <dgm:spPr/>
      <dgm:t>
        <a:bodyPr/>
        <a:lstStyle/>
        <a:p>
          <a:endParaRPr lang="de-DE"/>
        </a:p>
      </dgm:t>
    </dgm:pt>
    <dgm:pt modelId="{1E520B6D-D594-471A-B279-41781FCC2213}" type="sibTrans" cxnId="{0F46E1CE-2D25-4A83-9986-CCD912E88581}">
      <dgm:prSet/>
      <dgm:spPr/>
      <dgm:t>
        <a:bodyPr/>
        <a:lstStyle/>
        <a:p>
          <a:endParaRPr lang="de-DE" b="1"/>
        </a:p>
      </dgm:t>
    </dgm:pt>
    <dgm:pt modelId="{2578EFBC-294D-4D02-8A49-3B26B27E4849}">
      <dgm:prSet phldrT="[Text]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Definition</a:t>
          </a:r>
          <a:endParaRPr lang="de-DE" b="1" dirty="0"/>
        </a:p>
      </dgm:t>
    </dgm:pt>
    <dgm:pt modelId="{581FCB1F-D40F-4015-8F6E-118B2DD17C8B}" type="parTrans" cxnId="{E164D9DF-3082-4366-9805-7BB979FEC400}">
      <dgm:prSet/>
      <dgm:spPr/>
      <dgm:t>
        <a:bodyPr/>
        <a:lstStyle/>
        <a:p>
          <a:endParaRPr lang="de-DE"/>
        </a:p>
      </dgm:t>
    </dgm:pt>
    <dgm:pt modelId="{6DF22886-6B90-4034-ABF6-8E2CBF99476C}" type="sibTrans" cxnId="{E164D9DF-3082-4366-9805-7BB979FEC400}">
      <dgm:prSet/>
      <dgm:spPr/>
      <dgm:t>
        <a:bodyPr/>
        <a:lstStyle/>
        <a:p>
          <a:endParaRPr lang="de-DE" b="1"/>
        </a:p>
      </dgm:t>
    </dgm:pt>
    <dgm:pt modelId="{9C52BF91-AB17-45F7-9C8C-B9308903D049}">
      <dgm:prSet phldrT="[Text]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Entwurf</a:t>
          </a:r>
          <a:endParaRPr lang="de-DE" b="1" dirty="0"/>
        </a:p>
      </dgm:t>
    </dgm:pt>
    <dgm:pt modelId="{A6DAA37C-434A-4B12-9AB6-278BA08EA2AD}" type="parTrans" cxnId="{B72B16E5-348A-4B7E-AC13-7AAC99AFD22D}">
      <dgm:prSet/>
      <dgm:spPr/>
      <dgm:t>
        <a:bodyPr/>
        <a:lstStyle/>
        <a:p>
          <a:endParaRPr lang="de-DE"/>
        </a:p>
      </dgm:t>
    </dgm:pt>
    <dgm:pt modelId="{52EB73AF-5361-4FB8-A095-436681B6C5F2}" type="sibTrans" cxnId="{B72B16E5-348A-4B7E-AC13-7AAC99AFD22D}">
      <dgm:prSet/>
      <dgm:spPr/>
      <dgm:t>
        <a:bodyPr/>
        <a:lstStyle/>
        <a:p>
          <a:endParaRPr lang="de-DE" b="1"/>
        </a:p>
      </dgm:t>
    </dgm:pt>
    <dgm:pt modelId="{3BD0B62E-B601-4A14-93A6-31BB4476587F}">
      <dgm:prSet phldrT="[Text]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Implementierung</a:t>
          </a:r>
          <a:endParaRPr lang="de-DE" b="1" dirty="0"/>
        </a:p>
      </dgm:t>
    </dgm:pt>
    <dgm:pt modelId="{26B21DC8-C81E-49DF-A860-26DDF9022549}" type="parTrans" cxnId="{61E28594-8668-4193-83BD-EBB9D228E7D4}">
      <dgm:prSet/>
      <dgm:spPr/>
      <dgm:t>
        <a:bodyPr/>
        <a:lstStyle/>
        <a:p>
          <a:endParaRPr lang="de-DE"/>
        </a:p>
      </dgm:t>
    </dgm:pt>
    <dgm:pt modelId="{90BB5E9F-040A-4A3B-8ED8-8871ABE24A79}" type="sibTrans" cxnId="{61E28594-8668-4193-83BD-EBB9D228E7D4}">
      <dgm:prSet/>
      <dgm:spPr/>
      <dgm:t>
        <a:bodyPr/>
        <a:lstStyle/>
        <a:p>
          <a:endParaRPr lang="de-DE" b="1"/>
        </a:p>
      </dgm:t>
    </dgm:pt>
    <dgm:pt modelId="{C2370C4C-E97A-4663-8898-B53C68943C96}">
      <dgm:prSet phldrT="[Text]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Test</a:t>
          </a:r>
          <a:endParaRPr lang="de-DE" b="1" dirty="0"/>
        </a:p>
      </dgm:t>
    </dgm:pt>
    <dgm:pt modelId="{EB337CD1-9AFE-484F-B17D-3279682B3E68}" type="parTrans" cxnId="{E07D729C-FBC2-4E1C-838E-5AB8D3400BC1}">
      <dgm:prSet/>
      <dgm:spPr/>
      <dgm:t>
        <a:bodyPr/>
        <a:lstStyle/>
        <a:p>
          <a:endParaRPr lang="de-DE"/>
        </a:p>
      </dgm:t>
    </dgm:pt>
    <dgm:pt modelId="{C2BA5F46-E46D-4E07-9173-FD920DA6145B}" type="sibTrans" cxnId="{E07D729C-FBC2-4E1C-838E-5AB8D3400BC1}">
      <dgm:prSet/>
      <dgm:spPr/>
      <dgm:t>
        <a:bodyPr/>
        <a:lstStyle/>
        <a:p>
          <a:endParaRPr lang="de-DE" b="1"/>
        </a:p>
      </dgm:t>
    </dgm:pt>
    <dgm:pt modelId="{D9565401-D0E6-460E-9F97-7929E4EA4294}">
      <dgm:prSet phldrT="[Text]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Inbetriebnahme/Wartung</a:t>
          </a:r>
          <a:endParaRPr lang="de-DE" b="1" dirty="0"/>
        </a:p>
      </dgm:t>
    </dgm:pt>
    <dgm:pt modelId="{785FF9A0-4893-4464-AD15-1718737B9F44}" type="parTrans" cxnId="{FF8E3C5F-A2DF-4F8A-90CB-4C0C67482949}">
      <dgm:prSet/>
      <dgm:spPr/>
      <dgm:t>
        <a:bodyPr/>
        <a:lstStyle/>
        <a:p>
          <a:endParaRPr lang="de-DE"/>
        </a:p>
      </dgm:t>
    </dgm:pt>
    <dgm:pt modelId="{E218B665-E6B1-4E83-BA6C-66F0BB30CB2A}" type="sibTrans" cxnId="{FF8E3C5F-A2DF-4F8A-90CB-4C0C67482949}">
      <dgm:prSet/>
      <dgm:spPr/>
      <dgm:t>
        <a:bodyPr/>
        <a:lstStyle/>
        <a:p>
          <a:endParaRPr lang="de-DE"/>
        </a:p>
      </dgm:t>
    </dgm:pt>
    <dgm:pt modelId="{4BD8B572-E686-4045-A274-CBB8286508B2}" type="pres">
      <dgm:prSet presAssocID="{A39E09DA-B390-48CF-AE7E-411E49542861}" presName="linearFlow" presStyleCnt="0">
        <dgm:presLayoutVars>
          <dgm:resizeHandles val="exact"/>
        </dgm:presLayoutVars>
      </dgm:prSet>
      <dgm:spPr/>
    </dgm:pt>
    <dgm:pt modelId="{0E44B740-1B9E-4CB8-B767-3B32F9547718}" type="pres">
      <dgm:prSet presAssocID="{D4239A19-979C-498B-869D-2AE9D15E6F87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A24FD23-61FA-41E6-BA99-3B239E60B8EB}" type="pres">
      <dgm:prSet presAssocID="{1E520B6D-D594-471A-B279-41781FCC2213}" presName="sibTrans" presStyleLbl="sibTrans2D1" presStyleIdx="0" presStyleCnt="5"/>
      <dgm:spPr/>
      <dgm:t>
        <a:bodyPr/>
        <a:lstStyle/>
        <a:p>
          <a:endParaRPr lang="de-DE"/>
        </a:p>
      </dgm:t>
    </dgm:pt>
    <dgm:pt modelId="{8E06E9A0-77CC-4E39-A66D-BB6805685496}" type="pres">
      <dgm:prSet presAssocID="{1E520B6D-D594-471A-B279-41781FCC2213}" presName="connectorText" presStyleLbl="sibTrans2D1" presStyleIdx="0" presStyleCnt="5"/>
      <dgm:spPr/>
      <dgm:t>
        <a:bodyPr/>
        <a:lstStyle/>
        <a:p>
          <a:endParaRPr lang="de-DE"/>
        </a:p>
      </dgm:t>
    </dgm:pt>
    <dgm:pt modelId="{CCE1CCA9-499E-45B0-B7B7-8681B644818C}" type="pres">
      <dgm:prSet presAssocID="{2578EFBC-294D-4D02-8A49-3B26B27E4849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AB3788D-76C9-459B-B523-9C08E8A49FF5}" type="pres">
      <dgm:prSet presAssocID="{6DF22886-6B90-4034-ABF6-8E2CBF99476C}" presName="sibTrans" presStyleLbl="sibTrans2D1" presStyleIdx="1" presStyleCnt="5"/>
      <dgm:spPr/>
      <dgm:t>
        <a:bodyPr/>
        <a:lstStyle/>
        <a:p>
          <a:endParaRPr lang="de-DE"/>
        </a:p>
      </dgm:t>
    </dgm:pt>
    <dgm:pt modelId="{80CC9A60-193C-4906-B076-CBD238DFA35D}" type="pres">
      <dgm:prSet presAssocID="{6DF22886-6B90-4034-ABF6-8E2CBF99476C}" presName="connectorText" presStyleLbl="sibTrans2D1" presStyleIdx="1" presStyleCnt="5"/>
      <dgm:spPr/>
      <dgm:t>
        <a:bodyPr/>
        <a:lstStyle/>
        <a:p>
          <a:endParaRPr lang="de-DE"/>
        </a:p>
      </dgm:t>
    </dgm:pt>
    <dgm:pt modelId="{C48A6D12-74DF-41B0-8298-8697FB4162C5}" type="pres">
      <dgm:prSet presAssocID="{9C52BF91-AB17-45F7-9C8C-B9308903D049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7FA99CD-830F-4D4A-AABF-1415925CE9DB}" type="pres">
      <dgm:prSet presAssocID="{52EB73AF-5361-4FB8-A095-436681B6C5F2}" presName="sibTrans" presStyleLbl="sibTrans2D1" presStyleIdx="2" presStyleCnt="5"/>
      <dgm:spPr/>
      <dgm:t>
        <a:bodyPr/>
        <a:lstStyle/>
        <a:p>
          <a:endParaRPr lang="de-DE"/>
        </a:p>
      </dgm:t>
    </dgm:pt>
    <dgm:pt modelId="{9018E4B0-2DB0-40A8-8D99-A49D96BFB9FA}" type="pres">
      <dgm:prSet presAssocID="{52EB73AF-5361-4FB8-A095-436681B6C5F2}" presName="connectorText" presStyleLbl="sibTrans2D1" presStyleIdx="2" presStyleCnt="5"/>
      <dgm:spPr/>
      <dgm:t>
        <a:bodyPr/>
        <a:lstStyle/>
        <a:p>
          <a:endParaRPr lang="de-DE"/>
        </a:p>
      </dgm:t>
    </dgm:pt>
    <dgm:pt modelId="{F5F9203A-BBB7-47F5-9EBA-437EDC0EF45F}" type="pres">
      <dgm:prSet presAssocID="{3BD0B62E-B601-4A14-93A6-31BB4476587F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A830B4C-5B8A-484E-AD71-9ACA671B1CBC}" type="pres">
      <dgm:prSet presAssocID="{90BB5E9F-040A-4A3B-8ED8-8871ABE24A79}" presName="sibTrans" presStyleLbl="sibTrans2D1" presStyleIdx="3" presStyleCnt="5"/>
      <dgm:spPr/>
      <dgm:t>
        <a:bodyPr/>
        <a:lstStyle/>
        <a:p>
          <a:endParaRPr lang="de-DE"/>
        </a:p>
      </dgm:t>
    </dgm:pt>
    <dgm:pt modelId="{394AB1A3-AFC2-4DC1-9DFF-F05E98A7FA42}" type="pres">
      <dgm:prSet presAssocID="{90BB5E9F-040A-4A3B-8ED8-8871ABE24A79}" presName="connectorText" presStyleLbl="sibTrans2D1" presStyleIdx="3" presStyleCnt="5"/>
      <dgm:spPr/>
      <dgm:t>
        <a:bodyPr/>
        <a:lstStyle/>
        <a:p>
          <a:endParaRPr lang="de-DE"/>
        </a:p>
      </dgm:t>
    </dgm:pt>
    <dgm:pt modelId="{584DF5FE-1B17-4546-9398-683EDF1402AF}" type="pres">
      <dgm:prSet presAssocID="{C2370C4C-E97A-4663-8898-B53C68943C96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D606088-EF79-49D9-96A8-C7CCA3318634}" type="pres">
      <dgm:prSet presAssocID="{C2BA5F46-E46D-4E07-9173-FD920DA6145B}" presName="sibTrans" presStyleLbl="sibTrans2D1" presStyleIdx="4" presStyleCnt="5"/>
      <dgm:spPr/>
      <dgm:t>
        <a:bodyPr/>
        <a:lstStyle/>
        <a:p>
          <a:endParaRPr lang="de-DE"/>
        </a:p>
      </dgm:t>
    </dgm:pt>
    <dgm:pt modelId="{1727E6B8-9E97-482E-AA35-379A7E9B043E}" type="pres">
      <dgm:prSet presAssocID="{C2BA5F46-E46D-4E07-9173-FD920DA6145B}" presName="connectorText" presStyleLbl="sibTrans2D1" presStyleIdx="4" presStyleCnt="5"/>
      <dgm:spPr/>
      <dgm:t>
        <a:bodyPr/>
        <a:lstStyle/>
        <a:p>
          <a:endParaRPr lang="de-DE"/>
        </a:p>
      </dgm:t>
    </dgm:pt>
    <dgm:pt modelId="{F3DCC770-3F4E-4968-A0C7-91F43B39F43C}" type="pres">
      <dgm:prSet presAssocID="{D9565401-D0E6-460E-9F97-7929E4EA4294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F46E1CE-2D25-4A83-9986-CCD912E88581}" srcId="{A39E09DA-B390-48CF-AE7E-411E49542861}" destId="{D4239A19-979C-498B-869D-2AE9D15E6F87}" srcOrd="0" destOrd="0" parTransId="{B1AA1930-5839-46FE-9379-7780ECAC5616}" sibTransId="{1E520B6D-D594-471A-B279-41781FCC2213}"/>
    <dgm:cxn modelId="{75B0BD0B-FB49-43C2-9803-60DDC00DE53B}" type="presOf" srcId="{1E520B6D-D594-471A-B279-41781FCC2213}" destId="{8E06E9A0-77CC-4E39-A66D-BB6805685496}" srcOrd="1" destOrd="0" presId="urn:microsoft.com/office/officeart/2005/8/layout/process2"/>
    <dgm:cxn modelId="{06D5C23D-CA7F-4982-87C3-BFAEDC41B696}" type="presOf" srcId="{6DF22886-6B90-4034-ABF6-8E2CBF99476C}" destId="{80CC9A60-193C-4906-B076-CBD238DFA35D}" srcOrd="1" destOrd="0" presId="urn:microsoft.com/office/officeart/2005/8/layout/process2"/>
    <dgm:cxn modelId="{FF8E3C5F-A2DF-4F8A-90CB-4C0C67482949}" srcId="{A39E09DA-B390-48CF-AE7E-411E49542861}" destId="{D9565401-D0E6-460E-9F97-7929E4EA4294}" srcOrd="5" destOrd="0" parTransId="{785FF9A0-4893-4464-AD15-1718737B9F44}" sibTransId="{E218B665-E6B1-4E83-BA6C-66F0BB30CB2A}"/>
    <dgm:cxn modelId="{C36D0977-9BC4-4C21-91AF-38010CFE18C2}" type="presOf" srcId="{3BD0B62E-B601-4A14-93A6-31BB4476587F}" destId="{F5F9203A-BBB7-47F5-9EBA-437EDC0EF45F}" srcOrd="0" destOrd="0" presId="urn:microsoft.com/office/officeart/2005/8/layout/process2"/>
    <dgm:cxn modelId="{61E28594-8668-4193-83BD-EBB9D228E7D4}" srcId="{A39E09DA-B390-48CF-AE7E-411E49542861}" destId="{3BD0B62E-B601-4A14-93A6-31BB4476587F}" srcOrd="3" destOrd="0" parTransId="{26B21DC8-C81E-49DF-A860-26DDF9022549}" sibTransId="{90BB5E9F-040A-4A3B-8ED8-8871ABE24A79}"/>
    <dgm:cxn modelId="{B72B16E5-348A-4B7E-AC13-7AAC99AFD22D}" srcId="{A39E09DA-B390-48CF-AE7E-411E49542861}" destId="{9C52BF91-AB17-45F7-9C8C-B9308903D049}" srcOrd="2" destOrd="0" parTransId="{A6DAA37C-434A-4B12-9AB6-278BA08EA2AD}" sibTransId="{52EB73AF-5361-4FB8-A095-436681B6C5F2}"/>
    <dgm:cxn modelId="{176B96EF-5EEE-4D7B-ACA8-BF544949A079}" type="presOf" srcId="{2578EFBC-294D-4D02-8A49-3B26B27E4849}" destId="{CCE1CCA9-499E-45B0-B7B7-8681B644818C}" srcOrd="0" destOrd="0" presId="urn:microsoft.com/office/officeart/2005/8/layout/process2"/>
    <dgm:cxn modelId="{E07D729C-FBC2-4E1C-838E-5AB8D3400BC1}" srcId="{A39E09DA-B390-48CF-AE7E-411E49542861}" destId="{C2370C4C-E97A-4663-8898-B53C68943C96}" srcOrd="4" destOrd="0" parTransId="{EB337CD1-9AFE-484F-B17D-3279682B3E68}" sibTransId="{C2BA5F46-E46D-4E07-9173-FD920DA6145B}"/>
    <dgm:cxn modelId="{8AD6C40A-83C1-4B62-B20C-18253A98B96E}" type="presOf" srcId="{1E520B6D-D594-471A-B279-41781FCC2213}" destId="{7A24FD23-61FA-41E6-BA99-3B239E60B8EB}" srcOrd="0" destOrd="0" presId="urn:microsoft.com/office/officeart/2005/8/layout/process2"/>
    <dgm:cxn modelId="{8C2DF7A0-5263-49F2-A07C-3392F55CFB8F}" type="presOf" srcId="{C2370C4C-E97A-4663-8898-B53C68943C96}" destId="{584DF5FE-1B17-4546-9398-683EDF1402AF}" srcOrd="0" destOrd="0" presId="urn:microsoft.com/office/officeart/2005/8/layout/process2"/>
    <dgm:cxn modelId="{8E61549E-BE02-4544-B076-4ED08D527AB0}" type="presOf" srcId="{C2BA5F46-E46D-4E07-9173-FD920DA6145B}" destId="{1727E6B8-9E97-482E-AA35-379A7E9B043E}" srcOrd="1" destOrd="0" presId="urn:microsoft.com/office/officeart/2005/8/layout/process2"/>
    <dgm:cxn modelId="{E164D9DF-3082-4366-9805-7BB979FEC400}" srcId="{A39E09DA-B390-48CF-AE7E-411E49542861}" destId="{2578EFBC-294D-4D02-8A49-3B26B27E4849}" srcOrd="1" destOrd="0" parTransId="{581FCB1F-D40F-4015-8F6E-118B2DD17C8B}" sibTransId="{6DF22886-6B90-4034-ABF6-8E2CBF99476C}"/>
    <dgm:cxn modelId="{419CFDFE-EE3B-4FDB-B872-3A5DA2973C97}" type="presOf" srcId="{9C52BF91-AB17-45F7-9C8C-B9308903D049}" destId="{C48A6D12-74DF-41B0-8298-8697FB4162C5}" srcOrd="0" destOrd="0" presId="urn:microsoft.com/office/officeart/2005/8/layout/process2"/>
    <dgm:cxn modelId="{F87619A8-4359-4E90-AA97-02A04818D530}" type="presOf" srcId="{D4239A19-979C-498B-869D-2AE9D15E6F87}" destId="{0E44B740-1B9E-4CB8-B767-3B32F9547718}" srcOrd="0" destOrd="0" presId="urn:microsoft.com/office/officeart/2005/8/layout/process2"/>
    <dgm:cxn modelId="{B4414B9B-2DD3-44C8-B914-87A21E063252}" type="presOf" srcId="{A39E09DA-B390-48CF-AE7E-411E49542861}" destId="{4BD8B572-E686-4045-A274-CBB8286508B2}" srcOrd="0" destOrd="0" presId="urn:microsoft.com/office/officeart/2005/8/layout/process2"/>
    <dgm:cxn modelId="{A3E3AAD0-1075-45E7-939C-319541CDD4B8}" type="presOf" srcId="{6DF22886-6B90-4034-ABF6-8E2CBF99476C}" destId="{EAB3788D-76C9-459B-B523-9C08E8A49FF5}" srcOrd="0" destOrd="0" presId="urn:microsoft.com/office/officeart/2005/8/layout/process2"/>
    <dgm:cxn modelId="{4937D78B-ECF1-441D-BEB5-03E5878488A8}" type="presOf" srcId="{90BB5E9F-040A-4A3B-8ED8-8871ABE24A79}" destId="{3A830B4C-5B8A-484E-AD71-9ACA671B1CBC}" srcOrd="0" destOrd="0" presId="urn:microsoft.com/office/officeart/2005/8/layout/process2"/>
    <dgm:cxn modelId="{76E2CFBA-AAFC-4C17-AA5D-B9AB50BCE8A9}" type="presOf" srcId="{C2BA5F46-E46D-4E07-9173-FD920DA6145B}" destId="{0D606088-EF79-49D9-96A8-C7CCA3318634}" srcOrd="0" destOrd="0" presId="urn:microsoft.com/office/officeart/2005/8/layout/process2"/>
    <dgm:cxn modelId="{A78B43AF-69A8-4C2F-B7F3-2F19C9B2ED7D}" type="presOf" srcId="{90BB5E9F-040A-4A3B-8ED8-8871ABE24A79}" destId="{394AB1A3-AFC2-4DC1-9DFF-F05E98A7FA42}" srcOrd="1" destOrd="0" presId="urn:microsoft.com/office/officeart/2005/8/layout/process2"/>
    <dgm:cxn modelId="{BC5D580C-7F01-42C0-B9FD-A2D1057D2A73}" type="presOf" srcId="{D9565401-D0E6-460E-9F97-7929E4EA4294}" destId="{F3DCC770-3F4E-4968-A0C7-91F43B39F43C}" srcOrd="0" destOrd="0" presId="urn:microsoft.com/office/officeart/2005/8/layout/process2"/>
    <dgm:cxn modelId="{9CCF0654-2CD2-4186-96BE-D837F2314677}" type="presOf" srcId="{52EB73AF-5361-4FB8-A095-436681B6C5F2}" destId="{9018E4B0-2DB0-40A8-8D99-A49D96BFB9FA}" srcOrd="1" destOrd="0" presId="urn:microsoft.com/office/officeart/2005/8/layout/process2"/>
    <dgm:cxn modelId="{1C5C5671-B9D1-4DFD-A95E-49AE59BAA9FA}" type="presOf" srcId="{52EB73AF-5361-4FB8-A095-436681B6C5F2}" destId="{E7FA99CD-830F-4D4A-AABF-1415925CE9DB}" srcOrd="0" destOrd="0" presId="urn:microsoft.com/office/officeart/2005/8/layout/process2"/>
    <dgm:cxn modelId="{C6134982-227E-4E0C-A69C-EB57C30A6F53}" type="presParOf" srcId="{4BD8B572-E686-4045-A274-CBB8286508B2}" destId="{0E44B740-1B9E-4CB8-B767-3B32F9547718}" srcOrd="0" destOrd="0" presId="urn:microsoft.com/office/officeart/2005/8/layout/process2"/>
    <dgm:cxn modelId="{6689AF81-72E7-49EE-93F2-E26C6B92D7B3}" type="presParOf" srcId="{4BD8B572-E686-4045-A274-CBB8286508B2}" destId="{7A24FD23-61FA-41E6-BA99-3B239E60B8EB}" srcOrd="1" destOrd="0" presId="urn:microsoft.com/office/officeart/2005/8/layout/process2"/>
    <dgm:cxn modelId="{52DA6FB2-8CFF-4162-B326-D95DAE5D15A5}" type="presParOf" srcId="{7A24FD23-61FA-41E6-BA99-3B239E60B8EB}" destId="{8E06E9A0-77CC-4E39-A66D-BB6805685496}" srcOrd="0" destOrd="0" presId="urn:microsoft.com/office/officeart/2005/8/layout/process2"/>
    <dgm:cxn modelId="{4AB989FB-4579-4340-876F-53B29AF5599B}" type="presParOf" srcId="{4BD8B572-E686-4045-A274-CBB8286508B2}" destId="{CCE1CCA9-499E-45B0-B7B7-8681B644818C}" srcOrd="2" destOrd="0" presId="urn:microsoft.com/office/officeart/2005/8/layout/process2"/>
    <dgm:cxn modelId="{86DA857D-15AB-490D-93CC-3A1179CE96E6}" type="presParOf" srcId="{4BD8B572-E686-4045-A274-CBB8286508B2}" destId="{EAB3788D-76C9-459B-B523-9C08E8A49FF5}" srcOrd="3" destOrd="0" presId="urn:microsoft.com/office/officeart/2005/8/layout/process2"/>
    <dgm:cxn modelId="{7A1BDD65-E038-421A-A0EB-2ADEFA34C28B}" type="presParOf" srcId="{EAB3788D-76C9-459B-B523-9C08E8A49FF5}" destId="{80CC9A60-193C-4906-B076-CBD238DFA35D}" srcOrd="0" destOrd="0" presId="urn:microsoft.com/office/officeart/2005/8/layout/process2"/>
    <dgm:cxn modelId="{80B5487F-AD5A-4DA3-A405-5ADDCFB671A0}" type="presParOf" srcId="{4BD8B572-E686-4045-A274-CBB8286508B2}" destId="{C48A6D12-74DF-41B0-8298-8697FB4162C5}" srcOrd="4" destOrd="0" presId="urn:microsoft.com/office/officeart/2005/8/layout/process2"/>
    <dgm:cxn modelId="{093838C6-9082-4D6C-AC22-CB9B87A8EF9E}" type="presParOf" srcId="{4BD8B572-E686-4045-A274-CBB8286508B2}" destId="{E7FA99CD-830F-4D4A-AABF-1415925CE9DB}" srcOrd="5" destOrd="0" presId="urn:microsoft.com/office/officeart/2005/8/layout/process2"/>
    <dgm:cxn modelId="{809C155B-CA2B-44C5-9905-CE56EA68E8E0}" type="presParOf" srcId="{E7FA99CD-830F-4D4A-AABF-1415925CE9DB}" destId="{9018E4B0-2DB0-40A8-8D99-A49D96BFB9FA}" srcOrd="0" destOrd="0" presId="urn:microsoft.com/office/officeart/2005/8/layout/process2"/>
    <dgm:cxn modelId="{E371CCDE-7A56-4F1B-913E-09940774D5B3}" type="presParOf" srcId="{4BD8B572-E686-4045-A274-CBB8286508B2}" destId="{F5F9203A-BBB7-47F5-9EBA-437EDC0EF45F}" srcOrd="6" destOrd="0" presId="urn:microsoft.com/office/officeart/2005/8/layout/process2"/>
    <dgm:cxn modelId="{238D75CC-5848-4BA2-A9D9-2C38B0DC13EC}" type="presParOf" srcId="{4BD8B572-E686-4045-A274-CBB8286508B2}" destId="{3A830B4C-5B8A-484E-AD71-9ACA671B1CBC}" srcOrd="7" destOrd="0" presId="urn:microsoft.com/office/officeart/2005/8/layout/process2"/>
    <dgm:cxn modelId="{CA230319-F6AC-429B-9149-CADB93F31E2F}" type="presParOf" srcId="{3A830B4C-5B8A-484E-AD71-9ACA671B1CBC}" destId="{394AB1A3-AFC2-4DC1-9DFF-F05E98A7FA42}" srcOrd="0" destOrd="0" presId="urn:microsoft.com/office/officeart/2005/8/layout/process2"/>
    <dgm:cxn modelId="{3D3C74C4-4A5E-4E95-AF34-9B665F0E7C1A}" type="presParOf" srcId="{4BD8B572-E686-4045-A274-CBB8286508B2}" destId="{584DF5FE-1B17-4546-9398-683EDF1402AF}" srcOrd="8" destOrd="0" presId="urn:microsoft.com/office/officeart/2005/8/layout/process2"/>
    <dgm:cxn modelId="{F151B2BB-0086-4611-83A3-A1AF11B866C0}" type="presParOf" srcId="{4BD8B572-E686-4045-A274-CBB8286508B2}" destId="{0D606088-EF79-49D9-96A8-C7CCA3318634}" srcOrd="9" destOrd="0" presId="urn:microsoft.com/office/officeart/2005/8/layout/process2"/>
    <dgm:cxn modelId="{773A9484-B967-4C80-8C3C-A6787C4F0136}" type="presParOf" srcId="{0D606088-EF79-49D9-96A8-C7CCA3318634}" destId="{1727E6B8-9E97-482E-AA35-379A7E9B043E}" srcOrd="0" destOrd="0" presId="urn:microsoft.com/office/officeart/2005/8/layout/process2"/>
    <dgm:cxn modelId="{EC6DE135-F077-43D2-ABFB-12D32A8AF1CB}" type="presParOf" srcId="{4BD8B572-E686-4045-A274-CBB8286508B2}" destId="{F3DCC770-3F4E-4968-A0C7-91F43B39F43C}" srcOrd="10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39E09DA-B390-48CF-AE7E-411E49542861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</dgm:pt>
    <dgm:pt modelId="{D4239A19-979C-498B-869D-2AE9D15E6F87}">
      <dgm:prSet phldrT="[Text]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Anforderungsdefinition</a:t>
          </a:r>
          <a:endParaRPr lang="de-DE" b="1" dirty="0"/>
        </a:p>
      </dgm:t>
    </dgm:pt>
    <dgm:pt modelId="{B1AA1930-5839-46FE-9379-7780ECAC5616}" type="parTrans" cxnId="{0F46E1CE-2D25-4A83-9986-CCD912E88581}">
      <dgm:prSet/>
      <dgm:spPr/>
      <dgm:t>
        <a:bodyPr/>
        <a:lstStyle/>
        <a:p>
          <a:endParaRPr lang="de-DE"/>
        </a:p>
      </dgm:t>
    </dgm:pt>
    <dgm:pt modelId="{1E520B6D-D594-471A-B279-41781FCC2213}" type="sibTrans" cxnId="{0F46E1CE-2D25-4A83-9986-CCD912E88581}">
      <dgm:prSet/>
      <dgm:spPr/>
      <dgm:t>
        <a:bodyPr/>
        <a:lstStyle/>
        <a:p>
          <a:endParaRPr lang="de-DE" b="1"/>
        </a:p>
      </dgm:t>
    </dgm:pt>
    <dgm:pt modelId="{9C52BF91-AB17-45F7-9C8C-B9308903D049}">
      <dgm:prSet phldrT="[Text]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Entwurf</a:t>
          </a:r>
          <a:endParaRPr lang="de-DE" b="1" dirty="0"/>
        </a:p>
      </dgm:t>
    </dgm:pt>
    <dgm:pt modelId="{A6DAA37C-434A-4B12-9AB6-278BA08EA2AD}" type="parTrans" cxnId="{B72B16E5-348A-4B7E-AC13-7AAC99AFD22D}">
      <dgm:prSet/>
      <dgm:spPr/>
      <dgm:t>
        <a:bodyPr/>
        <a:lstStyle/>
        <a:p>
          <a:endParaRPr lang="de-DE"/>
        </a:p>
      </dgm:t>
    </dgm:pt>
    <dgm:pt modelId="{52EB73AF-5361-4FB8-A095-436681B6C5F2}" type="sibTrans" cxnId="{B72B16E5-348A-4B7E-AC13-7AAC99AFD22D}">
      <dgm:prSet/>
      <dgm:spPr/>
      <dgm:t>
        <a:bodyPr/>
        <a:lstStyle/>
        <a:p>
          <a:endParaRPr lang="de-DE" b="1"/>
        </a:p>
      </dgm:t>
    </dgm:pt>
    <dgm:pt modelId="{3BD0B62E-B601-4A14-93A6-31BB4476587F}">
      <dgm:prSet phldrT="[Text]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Implementierung</a:t>
          </a:r>
          <a:endParaRPr lang="de-DE" b="1" dirty="0"/>
        </a:p>
      </dgm:t>
    </dgm:pt>
    <dgm:pt modelId="{26B21DC8-C81E-49DF-A860-26DDF9022549}" type="parTrans" cxnId="{61E28594-8668-4193-83BD-EBB9D228E7D4}">
      <dgm:prSet/>
      <dgm:spPr/>
      <dgm:t>
        <a:bodyPr/>
        <a:lstStyle/>
        <a:p>
          <a:endParaRPr lang="de-DE"/>
        </a:p>
      </dgm:t>
    </dgm:pt>
    <dgm:pt modelId="{90BB5E9F-040A-4A3B-8ED8-8871ABE24A79}" type="sibTrans" cxnId="{61E28594-8668-4193-83BD-EBB9D228E7D4}">
      <dgm:prSet/>
      <dgm:spPr/>
      <dgm:t>
        <a:bodyPr/>
        <a:lstStyle/>
        <a:p>
          <a:endParaRPr lang="de-DE" b="1"/>
        </a:p>
      </dgm:t>
    </dgm:pt>
    <dgm:pt modelId="{C2370C4C-E97A-4663-8898-B53C68943C96}">
      <dgm:prSet phldrT="[Text]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Test</a:t>
          </a:r>
          <a:endParaRPr lang="de-DE" b="1" dirty="0"/>
        </a:p>
      </dgm:t>
    </dgm:pt>
    <dgm:pt modelId="{EB337CD1-9AFE-484F-B17D-3279682B3E68}" type="parTrans" cxnId="{E07D729C-FBC2-4E1C-838E-5AB8D3400BC1}">
      <dgm:prSet/>
      <dgm:spPr/>
      <dgm:t>
        <a:bodyPr/>
        <a:lstStyle/>
        <a:p>
          <a:endParaRPr lang="de-DE"/>
        </a:p>
      </dgm:t>
    </dgm:pt>
    <dgm:pt modelId="{C2BA5F46-E46D-4E07-9173-FD920DA6145B}" type="sibTrans" cxnId="{E07D729C-FBC2-4E1C-838E-5AB8D3400BC1}">
      <dgm:prSet/>
      <dgm:spPr/>
      <dgm:t>
        <a:bodyPr/>
        <a:lstStyle/>
        <a:p>
          <a:endParaRPr lang="de-DE" b="1"/>
        </a:p>
      </dgm:t>
    </dgm:pt>
    <dgm:pt modelId="{D9565401-D0E6-460E-9F97-7929E4EA4294}">
      <dgm:prSet phldrT="[Text]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Inbetriebnahme/Wartung</a:t>
          </a:r>
          <a:endParaRPr lang="de-DE" b="1" dirty="0"/>
        </a:p>
      </dgm:t>
    </dgm:pt>
    <dgm:pt modelId="{785FF9A0-4893-4464-AD15-1718737B9F44}" type="parTrans" cxnId="{FF8E3C5F-A2DF-4F8A-90CB-4C0C67482949}">
      <dgm:prSet/>
      <dgm:spPr/>
      <dgm:t>
        <a:bodyPr/>
        <a:lstStyle/>
        <a:p>
          <a:endParaRPr lang="de-DE"/>
        </a:p>
      </dgm:t>
    </dgm:pt>
    <dgm:pt modelId="{E218B665-E6B1-4E83-BA6C-66F0BB30CB2A}" type="sibTrans" cxnId="{FF8E3C5F-A2DF-4F8A-90CB-4C0C67482949}">
      <dgm:prSet/>
      <dgm:spPr/>
      <dgm:t>
        <a:bodyPr/>
        <a:lstStyle/>
        <a:p>
          <a:endParaRPr lang="de-DE"/>
        </a:p>
      </dgm:t>
    </dgm:pt>
    <dgm:pt modelId="{4BD8B572-E686-4045-A274-CBB8286508B2}" type="pres">
      <dgm:prSet presAssocID="{A39E09DA-B390-48CF-AE7E-411E49542861}" presName="linearFlow" presStyleCnt="0">
        <dgm:presLayoutVars>
          <dgm:resizeHandles val="exact"/>
        </dgm:presLayoutVars>
      </dgm:prSet>
      <dgm:spPr/>
    </dgm:pt>
    <dgm:pt modelId="{0E44B740-1B9E-4CB8-B767-3B32F9547718}" type="pres">
      <dgm:prSet presAssocID="{D4239A19-979C-498B-869D-2AE9D15E6F87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A24FD23-61FA-41E6-BA99-3B239E60B8EB}" type="pres">
      <dgm:prSet presAssocID="{1E520B6D-D594-471A-B279-41781FCC2213}" presName="sibTrans" presStyleLbl="sibTrans2D1" presStyleIdx="0" presStyleCnt="4"/>
      <dgm:spPr/>
      <dgm:t>
        <a:bodyPr/>
        <a:lstStyle/>
        <a:p>
          <a:endParaRPr lang="de-DE"/>
        </a:p>
      </dgm:t>
    </dgm:pt>
    <dgm:pt modelId="{8E06E9A0-77CC-4E39-A66D-BB6805685496}" type="pres">
      <dgm:prSet presAssocID="{1E520B6D-D594-471A-B279-41781FCC2213}" presName="connectorText" presStyleLbl="sibTrans2D1" presStyleIdx="0" presStyleCnt="4"/>
      <dgm:spPr/>
      <dgm:t>
        <a:bodyPr/>
        <a:lstStyle/>
        <a:p>
          <a:endParaRPr lang="de-DE"/>
        </a:p>
      </dgm:t>
    </dgm:pt>
    <dgm:pt modelId="{C48A6D12-74DF-41B0-8298-8697FB4162C5}" type="pres">
      <dgm:prSet presAssocID="{9C52BF91-AB17-45F7-9C8C-B9308903D049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7FA99CD-830F-4D4A-AABF-1415925CE9DB}" type="pres">
      <dgm:prSet presAssocID="{52EB73AF-5361-4FB8-A095-436681B6C5F2}" presName="sibTrans" presStyleLbl="sibTrans2D1" presStyleIdx="1" presStyleCnt="4"/>
      <dgm:spPr/>
      <dgm:t>
        <a:bodyPr/>
        <a:lstStyle/>
        <a:p>
          <a:endParaRPr lang="de-DE"/>
        </a:p>
      </dgm:t>
    </dgm:pt>
    <dgm:pt modelId="{9018E4B0-2DB0-40A8-8D99-A49D96BFB9FA}" type="pres">
      <dgm:prSet presAssocID="{52EB73AF-5361-4FB8-A095-436681B6C5F2}" presName="connectorText" presStyleLbl="sibTrans2D1" presStyleIdx="1" presStyleCnt="4"/>
      <dgm:spPr/>
      <dgm:t>
        <a:bodyPr/>
        <a:lstStyle/>
        <a:p>
          <a:endParaRPr lang="de-DE"/>
        </a:p>
      </dgm:t>
    </dgm:pt>
    <dgm:pt modelId="{F5F9203A-BBB7-47F5-9EBA-437EDC0EF45F}" type="pres">
      <dgm:prSet presAssocID="{3BD0B62E-B601-4A14-93A6-31BB4476587F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A830B4C-5B8A-484E-AD71-9ACA671B1CBC}" type="pres">
      <dgm:prSet presAssocID="{90BB5E9F-040A-4A3B-8ED8-8871ABE24A79}" presName="sibTrans" presStyleLbl="sibTrans2D1" presStyleIdx="2" presStyleCnt="4"/>
      <dgm:spPr/>
      <dgm:t>
        <a:bodyPr/>
        <a:lstStyle/>
        <a:p>
          <a:endParaRPr lang="de-DE"/>
        </a:p>
      </dgm:t>
    </dgm:pt>
    <dgm:pt modelId="{394AB1A3-AFC2-4DC1-9DFF-F05E98A7FA42}" type="pres">
      <dgm:prSet presAssocID="{90BB5E9F-040A-4A3B-8ED8-8871ABE24A79}" presName="connectorText" presStyleLbl="sibTrans2D1" presStyleIdx="2" presStyleCnt="4"/>
      <dgm:spPr/>
      <dgm:t>
        <a:bodyPr/>
        <a:lstStyle/>
        <a:p>
          <a:endParaRPr lang="de-DE"/>
        </a:p>
      </dgm:t>
    </dgm:pt>
    <dgm:pt modelId="{584DF5FE-1B17-4546-9398-683EDF1402AF}" type="pres">
      <dgm:prSet presAssocID="{C2370C4C-E97A-4663-8898-B53C68943C96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D606088-EF79-49D9-96A8-C7CCA3318634}" type="pres">
      <dgm:prSet presAssocID="{C2BA5F46-E46D-4E07-9173-FD920DA6145B}" presName="sibTrans" presStyleLbl="sibTrans2D1" presStyleIdx="3" presStyleCnt="4"/>
      <dgm:spPr/>
      <dgm:t>
        <a:bodyPr/>
        <a:lstStyle/>
        <a:p>
          <a:endParaRPr lang="de-DE"/>
        </a:p>
      </dgm:t>
    </dgm:pt>
    <dgm:pt modelId="{1727E6B8-9E97-482E-AA35-379A7E9B043E}" type="pres">
      <dgm:prSet presAssocID="{C2BA5F46-E46D-4E07-9173-FD920DA6145B}" presName="connectorText" presStyleLbl="sibTrans2D1" presStyleIdx="3" presStyleCnt="4"/>
      <dgm:spPr/>
      <dgm:t>
        <a:bodyPr/>
        <a:lstStyle/>
        <a:p>
          <a:endParaRPr lang="de-DE"/>
        </a:p>
      </dgm:t>
    </dgm:pt>
    <dgm:pt modelId="{F3DCC770-3F4E-4968-A0C7-91F43B39F43C}" type="pres">
      <dgm:prSet presAssocID="{D9565401-D0E6-460E-9F97-7929E4EA4294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F46E1CE-2D25-4A83-9986-CCD912E88581}" srcId="{A39E09DA-B390-48CF-AE7E-411E49542861}" destId="{D4239A19-979C-498B-869D-2AE9D15E6F87}" srcOrd="0" destOrd="0" parTransId="{B1AA1930-5839-46FE-9379-7780ECAC5616}" sibTransId="{1E520B6D-D594-471A-B279-41781FCC2213}"/>
    <dgm:cxn modelId="{6F83F1CC-1D74-4D26-BD8D-FA02BE50C3CF}" type="presOf" srcId="{90BB5E9F-040A-4A3B-8ED8-8871ABE24A79}" destId="{3A830B4C-5B8A-484E-AD71-9ACA671B1CBC}" srcOrd="0" destOrd="0" presId="urn:microsoft.com/office/officeart/2005/8/layout/process2"/>
    <dgm:cxn modelId="{0126A467-679A-433E-AF1F-89BFBADE4523}" type="presOf" srcId="{C2BA5F46-E46D-4E07-9173-FD920DA6145B}" destId="{1727E6B8-9E97-482E-AA35-379A7E9B043E}" srcOrd="1" destOrd="0" presId="urn:microsoft.com/office/officeart/2005/8/layout/process2"/>
    <dgm:cxn modelId="{FF8E3C5F-A2DF-4F8A-90CB-4C0C67482949}" srcId="{A39E09DA-B390-48CF-AE7E-411E49542861}" destId="{D9565401-D0E6-460E-9F97-7929E4EA4294}" srcOrd="4" destOrd="0" parTransId="{785FF9A0-4893-4464-AD15-1718737B9F44}" sibTransId="{E218B665-E6B1-4E83-BA6C-66F0BB30CB2A}"/>
    <dgm:cxn modelId="{58D5C24E-25B2-41AF-BF9D-9DED8668BE33}" type="presOf" srcId="{D4239A19-979C-498B-869D-2AE9D15E6F87}" destId="{0E44B740-1B9E-4CB8-B767-3B32F9547718}" srcOrd="0" destOrd="0" presId="urn:microsoft.com/office/officeart/2005/8/layout/process2"/>
    <dgm:cxn modelId="{21506D56-DE56-484E-86EB-2EB9A1578798}" type="presOf" srcId="{90BB5E9F-040A-4A3B-8ED8-8871ABE24A79}" destId="{394AB1A3-AFC2-4DC1-9DFF-F05E98A7FA42}" srcOrd="1" destOrd="0" presId="urn:microsoft.com/office/officeart/2005/8/layout/process2"/>
    <dgm:cxn modelId="{61E28594-8668-4193-83BD-EBB9D228E7D4}" srcId="{A39E09DA-B390-48CF-AE7E-411E49542861}" destId="{3BD0B62E-B601-4A14-93A6-31BB4476587F}" srcOrd="2" destOrd="0" parTransId="{26B21DC8-C81E-49DF-A860-26DDF9022549}" sibTransId="{90BB5E9F-040A-4A3B-8ED8-8871ABE24A79}"/>
    <dgm:cxn modelId="{B72B16E5-348A-4B7E-AC13-7AAC99AFD22D}" srcId="{A39E09DA-B390-48CF-AE7E-411E49542861}" destId="{9C52BF91-AB17-45F7-9C8C-B9308903D049}" srcOrd="1" destOrd="0" parTransId="{A6DAA37C-434A-4B12-9AB6-278BA08EA2AD}" sibTransId="{52EB73AF-5361-4FB8-A095-436681B6C5F2}"/>
    <dgm:cxn modelId="{256427F4-371B-42C7-86F8-F21B9E7287CA}" type="presOf" srcId="{52EB73AF-5361-4FB8-A095-436681B6C5F2}" destId="{E7FA99CD-830F-4D4A-AABF-1415925CE9DB}" srcOrd="0" destOrd="0" presId="urn:microsoft.com/office/officeart/2005/8/layout/process2"/>
    <dgm:cxn modelId="{E07D729C-FBC2-4E1C-838E-5AB8D3400BC1}" srcId="{A39E09DA-B390-48CF-AE7E-411E49542861}" destId="{C2370C4C-E97A-4663-8898-B53C68943C96}" srcOrd="3" destOrd="0" parTransId="{EB337CD1-9AFE-484F-B17D-3279682B3E68}" sibTransId="{C2BA5F46-E46D-4E07-9173-FD920DA6145B}"/>
    <dgm:cxn modelId="{EECCD496-3AB8-482C-BEF7-7DCBEA36733C}" type="presOf" srcId="{52EB73AF-5361-4FB8-A095-436681B6C5F2}" destId="{9018E4B0-2DB0-40A8-8D99-A49D96BFB9FA}" srcOrd="1" destOrd="0" presId="urn:microsoft.com/office/officeart/2005/8/layout/process2"/>
    <dgm:cxn modelId="{97B97472-C254-4CA6-8C33-837076BB3578}" type="presOf" srcId="{A39E09DA-B390-48CF-AE7E-411E49542861}" destId="{4BD8B572-E686-4045-A274-CBB8286508B2}" srcOrd="0" destOrd="0" presId="urn:microsoft.com/office/officeart/2005/8/layout/process2"/>
    <dgm:cxn modelId="{D381E917-EE7D-4D86-AD9A-DB98963100A9}" type="presOf" srcId="{3BD0B62E-B601-4A14-93A6-31BB4476587F}" destId="{F5F9203A-BBB7-47F5-9EBA-437EDC0EF45F}" srcOrd="0" destOrd="0" presId="urn:microsoft.com/office/officeart/2005/8/layout/process2"/>
    <dgm:cxn modelId="{EFEB838B-E03D-48CC-9E2D-DC951427A438}" type="presOf" srcId="{C2BA5F46-E46D-4E07-9173-FD920DA6145B}" destId="{0D606088-EF79-49D9-96A8-C7CCA3318634}" srcOrd="0" destOrd="0" presId="urn:microsoft.com/office/officeart/2005/8/layout/process2"/>
    <dgm:cxn modelId="{CB17BD2E-A988-4D75-9C99-89DC4BB7E804}" type="presOf" srcId="{9C52BF91-AB17-45F7-9C8C-B9308903D049}" destId="{C48A6D12-74DF-41B0-8298-8697FB4162C5}" srcOrd="0" destOrd="0" presId="urn:microsoft.com/office/officeart/2005/8/layout/process2"/>
    <dgm:cxn modelId="{D433D7E9-FEDE-4790-A74B-D7BB103264DD}" type="presOf" srcId="{1E520B6D-D594-471A-B279-41781FCC2213}" destId="{7A24FD23-61FA-41E6-BA99-3B239E60B8EB}" srcOrd="0" destOrd="0" presId="urn:microsoft.com/office/officeart/2005/8/layout/process2"/>
    <dgm:cxn modelId="{334A0AF9-977D-4911-8532-3C3B8A630488}" type="presOf" srcId="{D9565401-D0E6-460E-9F97-7929E4EA4294}" destId="{F3DCC770-3F4E-4968-A0C7-91F43B39F43C}" srcOrd="0" destOrd="0" presId="urn:microsoft.com/office/officeart/2005/8/layout/process2"/>
    <dgm:cxn modelId="{B8478F2B-A5EA-4FA4-8C25-AB1589E8FAB7}" type="presOf" srcId="{1E520B6D-D594-471A-B279-41781FCC2213}" destId="{8E06E9A0-77CC-4E39-A66D-BB6805685496}" srcOrd="1" destOrd="0" presId="urn:microsoft.com/office/officeart/2005/8/layout/process2"/>
    <dgm:cxn modelId="{D7876E0D-F744-48E8-A2D3-973E86A3A151}" type="presOf" srcId="{C2370C4C-E97A-4663-8898-B53C68943C96}" destId="{584DF5FE-1B17-4546-9398-683EDF1402AF}" srcOrd="0" destOrd="0" presId="urn:microsoft.com/office/officeart/2005/8/layout/process2"/>
    <dgm:cxn modelId="{44C2F3E9-7990-47BD-B520-0B052481FC19}" type="presParOf" srcId="{4BD8B572-E686-4045-A274-CBB8286508B2}" destId="{0E44B740-1B9E-4CB8-B767-3B32F9547718}" srcOrd="0" destOrd="0" presId="urn:microsoft.com/office/officeart/2005/8/layout/process2"/>
    <dgm:cxn modelId="{71E59407-68BD-42DC-93B2-098C4FB47BF3}" type="presParOf" srcId="{4BD8B572-E686-4045-A274-CBB8286508B2}" destId="{7A24FD23-61FA-41E6-BA99-3B239E60B8EB}" srcOrd="1" destOrd="0" presId="urn:microsoft.com/office/officeart/2005/8/layout/process2"/>
    <dgm:cxn modelId="{37CA2372-AC6B-4401-85FA-3B95B95BA924}" type="presParOf" srcId="{7A24FD23-61FA-41E6-BA99-3B239E60B8EB}" destId="{8E06E9A0-77CC-4E39-A66D-BB6805685496}" srcOrd="0" destOrd="0" presId="urn:microsoft.com/office/officeart/2005/8/layout/process2"/>
    <dgm:cxn modelId="{CAA5FB8E-E7BE-431A-90EE-6125FFAE025A}" type="presParOf" srcId="{4BD8B572-E686-4045-A274-CBB8286508B2}" destId="{C48A6D12-74DF-41B0-8298-8697FB4162C5}" srcOrd="2" destOrd="0" presId="urn:microsoft.com/office/officeart/2005/8/layout/process2"/>
    <dgm:cxn modelId="{D3003916-0D54-47E8-8FB8-54A729DEE2A6}" type="presParOf" srcId="{4BD8B572-E686-4045-A274-CBB8286508B2}" destId="{E7FA99CD-830F-4D4A-AABF-1415925CE9DB}" srcOrd="3" destOrd="0" presId="urn:microsoft.com/office/officeart/2005/8/layout/process2"/>
    <dgm:cxn modelId="{298E8A8C-2631-4C23-BDA0-467C598D303E}" type="presParOf" srcId="{E7FA99CD-830F-4D4A-AABF-1415925CE9DB}" destId="{9018E4B0-2DB0-40A8-8D99-A49D96BFB9FA}" srcOrd="0" destOrd="0" presId="urn:microsoft.com/office/officeart/2005/8/layout/process2"/>
    <dgm:cxn modelId="{37653278-9F32-46F4-B934-06685429A564}" type="presParOf" srcId="{4BD8B572-E686-4045-A274-CBB8286508B2}" destId="{F5F9203A-BBB7-47F5-9EBA-437EDC0EF45F}" srcOrd="4" destOrd="0" presId="urn:microsoft.com/office/officeart/2005/8/layout/process2"/>
    <dgm:cxn modelId="{9100C4F0-4259-4148-B549-3FA068D12BB1}" type="presParOf" srcId="{4BD8B572-E686-4045-A274-CBB8286508B2}" destId="{3A830B4C-5B8A-484E-AD71-9ACA671B1CBC}" srcOrd="5" destOrd="0" presId="urn:microsoft.com/office/officeart/2005/8/layout/process2"/>
    <dgm:cxn modelId="{6D24C266-DFB6-4C26-A18A-D531D5746A95}" type="presParOf" srcId="{3A830B4C-5B8A-484E-AD71-9ACA671B1CBC}" destId="{394AB1A3-AFC2-4DC1-9DFF-F05E98A7FA42}" srcOrd="0" destOrd="0" presId="urn:microsoft.com/office/officeart/2005/8/layout/process2"/>
    <dgm:cxn modelId="{9D53A78F-12A8-4509-B0C0-7F329A739A88}" type="presParOf" srcId="{4BD8B572-E686-4045-A274-CBB8286508B2}" destId="{584DF5FE-1B17-4546-9398-683EDF1402AF}" srcOrd="6" destOrd="0" presId="urn:microsoft.com/office/officeart/2005/8/layout/process2"/>
    <dgm:cxn modelId="{9F09A77F-8C01-493C-BC35-5CF8B6BC3E8D}" type="presParOf" srcId="{4BD8B572-E686-4045-A274-CBB8286508B2}" destId="{0D606088-EF79-49D9-96A8-C7CCA3318634}" srcOrd="7" destOrd="0" presId="urn:microsoft.com/office/officeart/2005/8/layout/process2"/>
    <dgm:cxn modelId="{9783E92E-923A-4E59-A4D7-7396E6DDC26F}" type="presParOf" srcId="{0D606088-EF79-49D9-96A8-C7CCA3318634}" destId="{1727E6B8-9E97-482E-AA35-379A7E9B043E}" srcOrd="0" destOrd="0" presId="urn:microsoft.com/office/officeart/2005/8/layout/process2"/>
    <dgm:cxn modelId="{FDADFA91-5CD2-455C-A884-7CA455E50CE8}" type="presParOf" srcId="{4BD8B572-E686-4045-A274-CBB8286508B2}" destId="{F3DCC770-3F4E-4968-A0C7-91F43B39F43C}" srcOrd="8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39E09DA-B390-48CF-AE7E-411E49542861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</dgm:pt>
    <dgm:pt modelId="{D4239A19-979C-498B-869D-2AE9D15E6F87}">
      <dgm:prSet phldrT="[Text]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Anforderungsdefinition</a:t>
          </a:r>
          <a:endParaRPr lang="de-DE" b="1" dirty="0"/>
        </a:p>
      </dgm:t>
    </dgm:pt>
    <dgm:pt modelId="{B1AA1930-5839-46FE-9379-7780ECAC5616}" type="parTrans" cxnId="{0F46E1CE-2D25-4A83-9986-CCD912E88581}">
      <dgm:prSet/>
      <dgm:spPr/>
      <dgm:t>
        <a:bodyPr/>
        <a:lstStyle/>
        <a:p>
          <a:endParaRPr lang="de-DE"/>
        </a:p>
      </dgm:t>
    </dgm:pt>
    <dgm:pt modelId="{1E520B6D-D594-471A-B279-41781FCC2213}" type="sibTrans" cxnId="{0F46E1CE-2D25-4A83-9986-CCD912E88581}">
      <dgm:prSet/>
      <dgm:spPr/>
      <dgm:t>
        <a:bodyPr/>
        <a:lstStyle/>
        <a:p>
          <a:endParaRPr lang="de-DE" b="1"/>
        </a:p>
      </dgm:t>
    </dgm:pt>
    <dgm:pt modelId="{9C52BF91-AB17-45F7-9C8C-B9308903D049}">
      <dgm:prSet phldrT="[Text]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Entwurf</a:t>
          </a:r>
          <a:endParaRPr lang="de-DE" b="1" dirty="0"/>
        </a:p>
      </dgm:t>
    </dgm:pt>
    <dgm:pt modelId="{A6DAA37C-434A-4B12-9AB6-278BA08EA2AD}" type="parTrans" cxnId="{B72B16E5-348A-4B7E-AC13-7AAC99AFD22D}">
      <dgm:prSet/>
      <dgm:spPr/>
      <dgm:t>
        <a:bodyPr/>
        <a:lstStyle/>
        <a:p>
          <a:endParaRPr lang="de-DE"/>
        </a:p>
      </dgm:t>
    </dgm:pt>
    <dgm:pt modelId="{52EB73AF-5361-4FB8-A095-436681B6C5F2}" type="sibTrans" cxnId="{B72B16E5-348A-4B7E-AC13-7AAC99AFD22D}">
      <dgm:prSet/>
      <dgm:spPr/>
      <dgm:t>
        <a:bodyPr/>
        <a:lstStyle/>
        <a:p>
          <a:endParaRPr lang="de-DE" b="1"/>
        </a:p>
      </dgm:t>
    </dgm:pt>
    <dgm:pt modelId="{3BD0B62E-B601-4A14-93A6-31BB4476587F}">
      <dgm:prSet phldrT="[Text]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Implementierung</a:t>
          </a:r>
          <a:endParaRPr lang="de-DE" b="1" dirty="0"/>
        </a:p>
      </dgm:t>
    </dgm:pt>
    <dgm:pt modelId="{26B21DC8-C81E-49DF-A860-26DDF9022549}" type="parTrans" cxnId="{61E28594-8668-4193-83BD-EBB9D228E7D4}">
      <dgm:prSet/>
      <dgm:spPr/>
      <dgm:t>
        <a:bodyPr/>
        <a:lstStyle/>
        <a:p>
          <a:endParaRPr lang="de-DE"/>
        </a:p>
      </dgm:t>
    </dgm:pt>
    <dgm:pt modelId="{90BB5E9F-040A-4A3B-8ED8-8871ABE24A79}" type="sibTrans" cxnId="{61E28594-8668-4193-83BD-EBB9D228E7D4}">
      <dgm:prSet/>
      <dgm:spPr/>
      <dgm:t>
        <a:bodyPr/>
        <a:lstStyle/>
        <a:p>
          <a:endParaRPr lang="de-DE" b="1"/>
        </a:p>
      </dgm:t>
    </dgm:pt>
    <dgm:pt modelId="{C2370C4C-E97A-4663-8898-B53C68943C96}">
      <dgm:prSet phldrT="[Text]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Test</a:t>
          </a:r>
          <a:endParaRPr lang="de-DE" b="1" dirty="0"/>
        </a:p>
      </dgm:t>
    </dgm:pt>
    <dgm:pt modelId="{EB337CD1-9AFE-484F-B17D-3279682B3E68}" type="parTrans" cxnId="{E07D729C-FBC2-4E1C-838E-5AB8D3400BC1}">
      <dgm:prSet/>
      <dgm:spPr/>
      <dgm:t>
        <a:bodyPr/>
        <a:lstStyle/>
        <a:p>
          <a:endParaRPr lang="de-DE"/>
        </a:p>
      </dgm:t>
    </dgm:pt>
    <dgm:pt modelId="{C2BA5F46-E46D-4E07-9173-FD920DA6145B}" type="sibTrans" cxnId="{E07D729C-FBC2-4E1C-838E-5AB8D3400BC1}">
      <dgm:prSet/>
      <dgm:spPr/>
      <dgm:t>
        <a:bodyPr/>
        <a:lstStyle/>
        <a:p>
          <a:endParaRPr lang="de-DE" b="1"/>
        </a:p>
      </dgm:t>
    </dgm:pt>
    <dgm:pt modelId="{D9565401-D0E6-460E-9F97-7929E4EA4294}">
      <dgm:prSet phldrT="[Text]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Inbetriebnahme/Wartung</a:t>
          </a:r>
          <a:endParaRPr lang="de-DE" b="1" dirty="0"/>
        </a:p>
      </dgm:t>
    </dgm:pt>
    <dgm:pt modelId="{785FF9A0-4893-4464-AD15-1718737B9F44}" type="parTrans" cxnId="{FF8E3C5F-A2DF-4F8A-90CB-4C0C67482949}">
      <dgm:prSet/>
      <dgm:spPr/>
      <dgm:t>
        <a:bodyPr/>
        <a:lstStyle/>
        <a:p>
          <a:endParaRPr lang="de-DE"/>
        </a:p>
      </dgm:t>
    </dgm:pt>
    <dgm:pt modelId="{E218B665-E6B1-4E83-BA6C-66F0BB30CB2A}" type="sibTrans" cxnId="{FF8E3C5F-A2DF-4F8A-90CB-4C0C67482949}">
      <dgm:prSet/>
      <dgm:spPr/>
      <dgm:t>
        <a:bodyPr/>
        <a:lstStyle/>
        <a:p>
          <a:endParaRPr lang="de-DE"/>
        </a:p>
      </dgm:t>
    </dgm:pt>
    <dgm:pt modelId="{4BD8B572-E686-4045-A274-CBB8286508B2}" type="pres">
      <dgm:prSet presAssocID="{A39E09DA-B390-48CF-AE7E-411E49542861}" presName="linearFlow" presStyleCnt="0">
        <dgm:presLayoutVars>
          <dgm:resizeHandles val="exact"/>
        </dgm:presLayoutVars>
      </dgm:prSet>
      <dgm:spPr/>
    </dgm:pt>
    <dgm:pt modelId="{0E44B740-1B9E-4CB8-B767-3B32F9547718}" type="pres">
      <dgm:prSet presAssocID="{D4239A19-979C-498B-869D-2AE9D15E6F87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A24FD23-61FA-41E6-BA99-3B239E60B8EB}" type="pres">
      <dgm:prSet presAssocID="{1E520B6D-D594-471A-B279-41781FCC2213}" presName="sibTrans" presStyleLbl="sibTrans2D1" presStyleIdx="0" presStyleCnt="4"/>
      <dgm:spPr/>
      <dgm:t>
        <a:bodyPr/>
        <a:lstStyle/>
        <a:p>
          <a:endParaRPr lang="de-DE"/>
        </a:p>
      </dgm:t>
    </dgm:pt>
    <dgm:pt modelId="{8E06E9A0-77CC-4E39-A66D-BB6805685496}" type="pres">
      <dgm:prSet presAssocID="{1E520B6D-D594-471A-B279-41781FCC2213}" presName="connectorText" presStyleLbl="sibTrans2D1" presStyleIdx="0" presStyleCnt="4"/>
      <dgm:spPr/>
      <dgm:t>
        <a:bodyPr/>
        <a:lstStyle/>
        <a:p>
          <a:endParaRPr lang="de-DE"/>
        </a:p>
      </dgm:t>
    </dgm:pt>
    <dgm:pt modelId="{C48A6D12-74DF-41B0-8298-8697FB4162C5}" type="pres">
      <dgm:prSet presAssocID="{9C52BF91-AB17-45F7-9C8C-B9308903D049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7FA99CD-830F-4D4A-AABF-1415925CE9DB}" type="pres">
      <dgm:prSet presAssocID="{52EB73AF-5361-4FB8-A095-436681B6C5F2}" presName="sibTrans" presStyleLbl="sibTrans2D1" presStyleIdx="1" presStyleCnt="4"/>
      <dgm:spPr/>
      <dgm:t>
        <a:bodyPr/>
        <a:lstStyle/>
        <a:p>
          <a:endParaRPr lang="de-DE"/>
        </a:p>
      </dgm:t>
    </dgm:pt>
    <dgm:pt modelId="{9018E4B0-2DB0-40A8-8D99-A49D96BFB9FA}" type="pres">
      <dgm:prSet presAssocID="{52EB73AF-5361-4FB8-A095-436681B6C5F2}" presName="connectorText" presStyleLbl="sibTrans2D1" presStyleIdx="1" presStyleCnt="4"/>
      <dgm:spPr/>
      <dgm:t>
        <a:bodyPr/>
        <a:lstStyle/>
        <a:p>
          <a:endParaRPr lang="de-DE"/>
        </a:p>
      </dgm:t>
    </dgm:pt>
    <dgm:pt modelId="{F5F9203A-BBB7-47F5-9EBA-437EDC0EF45F}" type="pres">
      <dgm:prSet presAssocID="{3BD0B62E-B601-4A14-93A6-31BB4476587F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A830B4C-5B8A-484E-AD71-9ACA671B1CBC}" type="pres">
      <dgm:prSet presAssocID="{90BB5E9F-040A-4A3B-8ED8-8871ABE24A79}" presName="sibTrans" presStyleLbl="sibTrans2D1" presStyleIdx="2" presStyleCnt="4"/>
      <dgm:spPr/>
      <dgm:t>
        <a:bodyPr/>
        <a:lstStyle/>
        <a:p>
          <a:endParaRPr lang="de-DE"/>
        </a:p>
      </dgm:t>
    </dgm:pt>
    <dgm:pt modelId="{394AB1A3-AFC2-4DC1-9DFF-F05E98A7FA42}" type="pres">
      <dgm:prSet presAssocID="{90BB5E9F-040A-4A3B-8ED8-8871ABE24A79}" presName="connectorText" presStyleLbl="sibTrans2D1" presStyleIdx="2" presStyleCnt="4"/>
      <dgm:spPr/>
      <dgm:t>
        <a:bodyPr/>
        <a:lstStyle/>
        <a:p>
          <a:endParaRPr lang="de-DE"/>
        </a:p>
      </dgm:t>
    </dgm:pt>
    <dgm:pt modelId="{584DF5FE-1B17-4546-9398-683EDF1402AF}" type="pres">
      <dgm:prSet presAssocID="{C2370C4C-E97A-4663-8898-B53C68943C96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D606088-EF79-49D9-96A8-C7CCA3318634}" type="pres">
      <dgm:prSet presAssocID="{C2BA5F46-E46D-4E07-9173-FD920DA6145B}" presName="sibTrans" presStyleLbl="sibTrans2D1" presStyleIdx="3" presStyleCnt="4"/>
      <dgm:spPr/>
      <dgm:t>
        <a:bodyPr/>
        <a:lstStyle/>
        <a:p>
          <a:endParaRPr lang="de-DE"/>
        </a:p>
      </dgm:t>
    </dgm:pt>
    <dgm:pt modelId="{1727E6B8-9E97-482E-AA35-379A7E9B043E}" type="pres">
      <dgm:prSet presAssocID="{C2BA5F46-E46D-4E07-9173-FD920DA6145B}" presName="connectorText" presStyleLbl="sibTrans2D1" presStyleIdx="3" presStyleCnt="4"/>
      <dgm:spPr/>
      <dgm:t>
        <a:bodyPr/>
        <a:lstStyle/>
        <a:p>
          <a:endParaRPr lang="de-DE"/>
        </a:p>
      </dgm:t>
    </dgm:pt>
    <dgm:pt modelId="{F3DCC770-3F4E-4968-A0C7-91F43B39F43C}" type="pres">
      <dgm:prSet presAssocID="{D9565401-D0E6-460E-9F97-7929E4EA4294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D1BB4927-1BED-4389-84CB-9A70D52D0B9F}" type="presOf" srcId="{D9565401-D0E6-460E-9F97-7929E4EA4294}" destId="{F3DCC770-3F4E-4968-A0C7-91F43B39F43C}" srcOrd="0" destOrd="0" presId="urn:microsoft.com/office/officeart/2005/8/layout/process2"/>
    <dgm:cxn modelId="{0F46E1CE-2D25-4A83-9986-CCD912E88581}" srcId="{A39E09DA-B390-48CF-AE7E-411E49542861}" destId="{D4239A19-979C-498B-869D-2AE9D15E6F87}" srcOrd="0" destOrd="0" parTransId="{B1AA1930-5839-46FE-9379-7780ECAC5616}" sibTransId="{1E520B6D-D594-471A-B279-41781FCC2213}"/>
    <dgm:cxn modelId="{60197788-9511-4093-A4DA-F708A781F386}" type="presOf" srcId="{A39E09DA-B390-48CF-AE7E-411E49542861}" destId="{4BD8B572-E686-4045-A274-CBB8286508B2}" srcOrd="0" destOrd="0" presId="urn:microsoft.com/office/officeart/2005/8/layout/process2"/>
    <dgm:cxn modelId="{9E76E5B6-97CC-4F95-8F49-E30F9C8AEC86}" type="presOf" srcId="{90BB5E9F-040A-4A3B-8ED8-8871ABE24A79}" destId="{394AB1A3-AFC2-4DC1-9DFF-F05E98A7FA42}" srcOrd="1" destOrd="0" presId="urn:microsoft.com/office/officeart/2005/8/layout/process2"/>
    <dgm:cxn modelId="{B8093BB9-EF61-408D-A30C-0560F7B1EAE2}" type="presOf" srcId="{C2BA5F46-E46D-4E07-9173-FD920DA6145B}" destId="{0D606088-EF79-49D9-96A8-C7CCA3318634}" srcOrd="0" destOrd="0" presId="urn:microsoft.com/office/officeart/2005/8/layout/process2"/>
    <dgm:cxn modelId="{FF8E3C5F-A2DF-4F8A-90CB-4C0C67482949}" srcId="{A39E09DA-B390-48CF-AE7E-411E49542861}" destId="{D9565401-D0E6-460E-9F97-7929E4EA4294}" srcOrd="4" destOrd="0" parTransId="{785FF9A0-4893-4464-AD15-1718737B9F44}" sibTransId="{E218B665-E6B1-4E83-BA6C-66F0BB30CB2A}"/>
    <dgm:cxn modelId="{D49B4E25-2BB1-40E5-AA49-B73D0911FF9F}" type="presOf" srcId="{1E520B6D-D594-471A-B279-41781FCC2213}" destId="{8E06E9A0-77CC-4E39-A66D-BB6805685496}" srcOrd="1" destOrd="0" presId="urn:microsoft.com/office/officeart/2005/8/layout/process2"/>
    <dgm:cxn modelId="{61E28594-8668-4193-83BD-EBB9D228E7D4}" srcId="{A39E09DA-B390-48CF-AE7E-411E49542861}" destId="{3BD0B62E-B601-4A14-93A6-31BB4476587F}" srcOrd="2" destOrd="0" parTransId="{26B21DC8-C81E-49DF-A860-26DDF9022549}" sibTransId="{90BB5E9F-040A-4A3B-8ED8-8871ABE24A79}"/>
    <dgm:cxn modelId="{B72B16E5-348A-4B7E-AC13-7AAC99AFD22D}" srcId="{A39E09DA-B390-48CF-AE7E-411E49542861}" destId="{9C52BF91-AB17-45F7-9C8C-B9308903D049}" srcOrd="1" destOrd="0" parTransId="{A6DAA37C-434A-4B12-9AB6-278BA08EA2AD}" sibTransId="{52EB73AF-5361-4FB8-A095-436681B6C5F2}"/>
    <dgm:cxn modelId="{E07D729C-FBC2-4E1C-838E-5AB8D3400BC1}" srcId="{A39E09DA-B390-48CF-AE7E-411E49542861}" destId="{C2370C4C-E97A-4663-8898-B53C68943C96}" srcOrd="3" destOrd="0" parTransId="{EB337CD1-9AFE-484F-B17D-3279682B3E68}" sibTransId="{C2BA5F46-E46D-4E07-9173-FD920DA6145B}"/>
    <dgm:cxn modelId="{77A79D8A-A52D-4077-96D3-8537341C537D}" type="presOf" srcId="{52EB73AF-5361-4FB8-A095-436681B6C5F2}" destId="{E7FA99CD-830F-4D4A-AABF-1415925CE9DB}" srcOrd="0" destOrd="0" presId="urn:microsoft.com/office/officeart/2005/8/layout/process2"/>
    <dgm:cxn modelId="{9E43F780-0F71-4472-874E-3CB86F402973}" type="presOf" srcId="{90BB5E9F-040A-4A3B-8ED8-8871ABE24A79}" destId="{3A830B4C-5B8A-484E-AD71-9ACA671B1CBC}" srcOrd="0" destOrd="0" presId="urn:microsoft.com/office/officeart/2005/8/layout/process2"/>
    <dgm:cxn modelId="{886129C3-F54F-4D2A-B7B4-BB8C38290E0B}" type="presOf" srcId="{D4239A19-979C-498B-869D-2AE9D15E6F87}" destId="{0E44B740-1B9E-4CB8-B767-3B32F9547718}" srcOrd="0" destOrd="0" presId="urn:microsoft.com/office/officeart/2005/8/layout/process2"/>
    <dgm:cxn modelId="{BEB1A933-23A9-44BF-8C41-8CEDEFAD7A8F}" type="presOf" srcId="{9C52BF91-AB17-45F7-9C8C-B9308903D049}" destId="{C48A6D12-74DF-41B0-8298-8697FB4162C5}" srcOrd="0" destOrd="0" presId="urn:microsoft.com/office/officeart/2005/8/layout/process2"/>
    <dgm:cxn modelId="{B1000244-C972-4B9D-AB33-430D2C2413D7}" type="presOf" srcId="{52EB73AF-5361-4FB8-A095-436681B6C5F2}" destId="{9018E4B0-2DB0-40A8-8D99-A49D96BFB9FA}" srcOrd="1" destOrd="0" presId="urn:microsoft.com/office/officeart/2005/8/layout/process2"/>
    <dgm:cxn modelId="{258131F7-B1E4-4F67-B29F-407BF5DE6A5C}" type="presOf" srcId="{3BD0B62E-B601-4A14-93A6-31BB4476587F}" destId="{F5F9203A-BBB7-47F5-9EBA-437EDC0EF45F}" srcOrd="0" destOrd="0" presId="urn:microsoft.com/office/officeart/2005/8/layout/process2"/>
    <dgm:cxn modelId="{D46B9B13-FE33-43BE-8631-E33C28F0A677}" type="presOf" srcId="{C2BA5F46-E46D-4E07-9173-FD920DA6145B}" destId="{1727E6B8-9E97-482E-AA35-379A7E9B043E}" srcOrd="1" destOrd="0" presId="urn:microsoft.com/office/officeart/2005/8/layout/process2"/>
    <dgm:cxn modelId="{C5A2CF81-1456-4A45-9738-41DE55D06857}" type="presOf" srcId="{1E520B6D-D594-471A-B279-41781FCC2213}" destId="{7A24FD23-61FA-41E6-BA99-3B239E60B8EB}" srcOrd="0" destOrd="0" presId="urn:microsoft.com/office/officeart/2005/8/layout/process2"/>
    <dgm:cxn modelId="{ADA85813-271E-484E-8D3A-82FC66822EE5}" type="presOf" srcId="{C2370C4C-E97A-4663-8898-B53C68943C96}" destId="{584DF5FE-1B17-4546-9398-683EDF1402AF}" srcOrd="0" destOrd="0" presId="urn:microsoft.com/office/officeart/2005/8/layout/process2"/>
    <dgm:cxn modelId="{19D76661-1B50-4D0D-9FBA-837978A819FE}" type="presParOf" srcId="{4BD8B572-E686-4045-A274-CBB8286508B2}" destId="{0E44B740-1B9E-4CB8-B767-3B32F9547718}" srcOrd="0" destOrd="0" presId="urn:microsoft.com/office/officeart/2005/8/layout/process2"/>
    <dgm:cxn modelId="{5CACC8E7-1971-475F-B54B-FBD70CC24103}" type="presParOf" srcId="{4BD8B572-E686-4045-A274-CBB8286508B2}" destId="{7A24FD23-61FA-41E6-BA99-3B239E60B8EB}" srcOrd="1" destOrd="0" presId="urn:microsoft.com/office/officeart/2005/8/layout/process2"/>
    <dgm:cxn modelId="{D22F04DA-DA24-4CFD-A87A-FEB3002E5B08}" type="presParOf" srcId="{7A24FD23-61FA-41E6-BA99-3B239E60B8EB}" destId="{8E06E9A0-77CC-4E39-A66D-BB6805685496}" srcOrd="0" destOrd="0" presId="urn:microsoft.com/office/officeart/2005/8/layout/process2"/>
    <dgm:cxn modelId="{BD815ED0-35BA-4A12-AB96-B36D824CC74F}" type="presParOf" srcId="{4BD8B572-E686-4045-A274-CBB8286508B2}" destId="{C48A6D12-74DF-41B0-8298-8697FB4162C5}" srcOrd="2" destOrd="0" presId="urn:microsoft.com/office/officeart/2005/8/layout/process2"/>
    <dgm:cxn modelId="{1A0513AA-88E3-49C0-A7D7-52756F4D24E1}" type="presParOf" srcId="{4BD8B572-E686-4045-A274-CBB8286508B2}" destId="{E7FA99CD-830F-4D4A-AABF-1415925CE9DB}" srcOrd="3" destOrd="0" presId="urn:microsoft.com/office/officeart/2005/8/layout/process2"/>
    <dgm:cxn modelId="{FE774E2D-5C1A-47CD-A023-D5738BF391C5}" type="presParOf" srcId="{E7FA99CD-830F-4D4A-AABF-1415925CE9DB}" destId="{9018E4B0-2DB0-40A8-8D99-A49D96BFB9FA}" srcOrd="0" destOrd="0" presId="urn:microsoft.com/office/officeart/2005/8/layout/process2"/>
    <dgm:cxn modelId="{9F33ED36-32E2-43D9-BFEB-53229C27E1DE}" type="presParOf" srcId="{4BD8B572-E686-4045-A274-CBB8286508B2}" destId="{F5F9203A-BBB7-47F5-9EBA-437EDC0EF45F}" srcOrd="4" destOrd="0" presId="urn:microsoft.com/office/officeart/2005/8/layout/process2"/>
    <dgm:cxn modelId="{25E563C3-BE03-4224-A1EA-91F47B8E327D}" type="presParOf" srcId="{4BD8B572-E686-4045-A274-CBB8286508B2}" destId="{3A830B4C-5B8A-484E-AD71-9ACA671B1CBC}" srcOrd="5" destOrd="0" presId="urn:microsoft.com/office/officeart/2005/8/layout/process2"/>
    <dgm:cxn modelId="{2060E3E3-8976-4775-913F-A8D77B98B3F8}" type="presParOf" srcId="{3A830B4C-5B8A-484E-AD71-9ACA671B1CBC}" destId="{394AB1A3-AFC2-4DC1-9DFF-F05E98A7FA42}" srcOrd="0" destOrd="0" presId="urn:microsoft.com/office/officeart/2005/8/layout/process2"/>
    <dgm:cxn modelId="{9EBCAC6E-0A14-4488-9E63-287E36CA7F53}" type="presParOf" srcId="{4BD8B572-E686-4045-A274-CBB8286508B2}" destId="{584DF5FE-1B17-4546-9398-683EDF1402AF}" srcOrd="6" destOrd="0" presId="urn:microsoft.com/office/officeart/2005/8/layout/process2"/>
    <dgm:cxn modelId="{B28E07F5-9BBC-477A-AC74-0F8CF240C25C}" type="presParOf" srcId="{4BD8B572-E686-4045-A274-CBB8286508B2}" destId="{0D606088-EF79-49D9-96A8-C7CCA3318634}" srcOrd="7" destOrd="0" presId="urn:microsoft.com/office/officeart/2005/8/layout/process2"/>
    <dgm:cxn modelId="{FD593AC5-4DB1-47A6-BB09-36AAE992299C}" type="presParOf" srcId="{0D606088-EF79-49D9-96A8-C7CCA3318634}" destId="{1727E6B8-9E97-482E-AA35-379A7E9B043E}" srcOrd="0" destOrd="0" presId="urn:microsoft.com/office/officeart/2005/8/layout/process2"/>
    <dgm:cxn modelId="{77E3CE8E-E743-4FE6-AA3B-03D5AECDAB7A}" type="presParOf" srcId="{4BD8B572-E686-4045-A274-CBB8286508B2}" destId="{F3DCC770-3F4E-4968-A0C7-91F43B39F43C}" srcOrd="8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39E09DA-B390-48CF-AE7E-411E49542861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</dgm:pt>
    <dgm:pt modelId="{D4239A19-979C-498B-869D-2AE9D15E6F87}">
      <dgm:prSet phldrT="[Text]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Anforderungsdefinition</a:t>
          </a:r>
          <a:endParaRPr lang="de-DE" b="1" dirty="0"/>
        </a:p>
      </dgm:t>
    </dgm:pt>
    <dgm:pt modelId="{B1AA1930-5839-46FE-9379-7780ECAC5616}" type="parTrans" cxnId="{0F46E1CE-2D25-4A83-9986-CCD912E88581}">
      <dgm:prSet/>
      <dgm:spPr/>
      <dgm:t>
        <a:bodyPr/>
        <a:lstStyle/>
        <a:p>
          <a:endParaRPr lang="de-DE"/>
        </a:p>
      </dgm:t>
    </dgm:pt>
    <dgm:pt modelId="{1E520B6D-D594-471A-B279-41781FCC2213}" type="sibTrans" cxnId="{0F46E1CE-2D25-4A83-9986-CCD912E88581}">
      <dgm:prSet/>
      <dgm:spPr/>
      <dgm:t>
        <a:bodyPr/>
        <a:lstStyle/>
        <a:p>
          <a:endParaRPr lang="de-DE" b="1"/>
        </a:p>
      </dgm:t>
    </dgm:pt>
    <dgm:pt modelId="{9C52BF91-AB17-45F7-9C8C-B9308903D049}">
      <dgm:prSet phldrT="[Text]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Entwurf</a:t>
          </a:r>
          <a:endParaRPr lang="de-DE" b="1" dirty="0"/>
        </a:p>
      </dgm:t>
    </dgm:pt>
    <dgm:pt modelId="{A6DAA37C-434A-4B12-9AB6-278BA08EA2AD}" type="parTrans" cxnId="{B72B16E5-348A-4B7E-AC13-7AAC99AFD22D}">
      <dgm:prSet/>
      <dgm:spPr/>
      <dgm:t>
        <a:bodyPr/>
        <a:lstStyle/>
        <a:p>
          <a:endParaRPr lang="de-DE"/>
        </a:p>
      </dgm:t>
    </dgm:pt>
    <dgm:pt modelId="{52EB73AF-5361-4FB8-A095-436681B6C5F2}" type="sibTrans" cxnId="{B72B16E5-348A-4B7E-AC13-7AAC99AFD22D}">
      <dgm:prSet/>
      <dgm:spPr/>
      <dgm:t>
        <a:bodyPr/>
        <a:lstStyle/>
        <a:p>
          <a:endParaRPr lang="de-DE" b="1"/>
        </a:p>
      </dgm:t>
    </dgm:pt>
    <dgm:pt modelId="{3BD0B62E-B601-4A14-93A6-31BB4476587F}">
      <dgm:prSet phldrT="[Text]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Implementierung</a:t>
          </a:r>
          <a:endParaRPr lang="de-DE" b="1" dirty="0"/>
        </a:p>
      </dgm:t>
    </dgm:pt>
    <dgm:pt modelId="{26B21DC8-C81E-49DF-A860-26DDF9022549}" type="parTrans" cxnId="{61E28594-8668-4193-83BD-EBB9D228E7D4}">
      <dgm:prSet/>
      <dgm:spPr/>
      <dgm:t>
        <a:bodyPr/>
        <a:lstStyle/>
        <a:p>
          <a:endParaRPr lang="de-DE"/>
        </a:p>
      </dgm:t>
    </dgm:pt>
    <dgm:pt modelId="{90BB5E9F-040A-4A3B-8ED8-8871ABE24A79}" type="sibTrans" cxnId="{61E28594-8668-4193-83BD-EBB9D228E7D4}">
      <dgm:prSet/>
      <dgm:spPr/>
      <dgm:t>
        <a:bodyPr/>
        <a:lstStyle/>
        <a:p>
          <a:endParaRPr lang="de-DE" b="1"/>
        </a:p>
      </dgm:t>
    </dgm:pt>
    <dgm:pt modelId="{C2370C4C-E97A-4663-8898-B53C68943C96}">
      <dgm:prSet phldrT="[Text]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Test</a:t>
          </a:r>
          <a:endParaRPr lang="de-DE" b="1" dirty="0"/>
        </a:p>
      </dgm:t>
    </dgm:pt>
    <dgm:pt modelId="{EB337CD1-9AFE-484F-B17D-3279682B3E68}" type="parTrans" cxnId="{E07D729C-FBC2-4E1C-838E-5AB8D3400BC1}">
      <dgm:prSet/>
      <dgm:spPr/>
      <dgm:t>
        <a:bodyPr/>
        <a:lstStyle/>
        <a:p>
          <a:endParaRPr lang="de-DE"/>
        </a:p>
      </dgm:t>
    </dgm:pt>
    <dgm:pt modelId="{C2BA5F46-E46D-4E07-9173-FD920DA6145B}" type="sibTrans" cxnId="{E07D729C-FBC2-4E1C-838E-5AB8D3400BC1}">
      <dgm:prSet/>
      <dgm:spPr/>
      <dgm:t>
        <a:bodyPr/>
        <a:lstStyle/>
        <a:p>
          <a:endParaRPr lang="de-DE" b="1"/>
        </a:p>
      </dgm:t>
    </dgm:pt>
    <dgm:pt modelId="{D9565401-D0E6-460E-9F97-7929E4EA4294}">
      <dgm:prSet phldrT="[Text]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Inbetriebnahme/Wartung</a:t>
          </a:r>
          <a:endParaRPr lang="de-DE" b="1" dirty="0"/>
        </a:p>
      </dgm:t>
    </dgm:pt>
    <dgm:pt modelId="{785FF9A0-4893-4464-AD15-1718737B9F44}" type="parTrans" cxnId="{FF8E3C5F-A2DF-4F8A-90CB-4C0C67482949}">
      <dgm:prSet/>
      <dgm:spPr/>
      <dgm:t>
        <a:bodyPr/>
        <a:lstStyle/>
        <a:p>
          <a:endParaRPr lang="de-DE"/>
        </a:p>
      </dgm:t>
    </dgm:pt>
    <dgm:pt modelId="{E218B665-E6B1-4E83-BA6C-66F0BB30CB2A}" type="sibTrans" cxnId="{FF8E3C5F-A2DF-4F8A-90CB-4C0C67482949}">
      <dgm:prSet/>
      <dgm:spPr/>
      <dgm:t>
        <a:bodyPr/>
        <a:lstStyle/>
        <a:p>
          <a:endParaRPr lang="de-DE"/>
        </a:p>
      </dgm:t>
    </dgm:pt>
    <dgm:pt modelId="{4BD8B572-E686-4045-A274-CBB8286508B2}" type="pres">
      <dgm:prSet presAssocID="{A39E09DA-B390-48CF-AE7E-411E49542861}" presName="linearFlow" presStyleCnt="0">
        <dgm:presLayoutVars>
          <dgm:resizeHandles val="exact"/>
        </dgm:presLayoutVars>
      </dgm:prSet>
      <dgm:spPr/>
    </dgm:pt>
    <dgm:pt modelId="{0E44B740-1B9E-4CB8-B767-3B32F9547718}" type="pres">
      <dgm:prSet presAssocID="{D4239A19-979C-498B-869D-2AE9D15E6F87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A24FD23-61FA-41E6-BA99-3B239E60B8EB}" type="pres">
      <dgm:prSet presAssocID="{1E520B6D-D594-471A-B279-41781FCC2213}" presName="sibTrans" presStyleLbl="sibTrans2D1" presStyleIdx="0" presStyleCnt="4"/>
      <dgm:spPr/>
      <dgm:t>
        <a:bodyPr/>
        <a:lstStyle/>
        <a:p>
          <a:endParaRPr lang="de-DE"/>
        </a:p>
      </dgm:t>
    </dgm:pt>
    <dgm:pt modelId="{8E06E9A0-77CC-4E39-A66D-BB6805685496}" type="pres">
      <dgm:prSet presAssocID="{1E520B6D-D594-471A-B279-41781FCC2213}" presName="connectorText" presStyleLbl="sibTrans2D1" presStyleIdx="0" presStyleCnt="4"/>
      <dgm:spPr/>
      <dgm:t>
        <a:bodyPr/>
        <a:lstStyle/>
        <a:p>
          <a:endParaRPr lang="de-DE"/>
        </a:p>
      </dgm:t>
    </dgm:pt>
    <dgm:pt modelId="{C48A6D12-74DF-41B0-8298-8697FB4162C5}" type="pres">
      <dgm:prSet presAssocID="{9C52BF91-AB17-45F7-9C8C-B9308903D049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7FA99CD-830F-4D4A-AABF-1415925CE9DB}" type="pres">
      <dgm:prSet presAssocID="{52EB73AF-5361-4FB8-A095-436681B6C5F2}" presName="sibTrans" presStyleLbl="sibTrans2D1" presStyleIdx="1" presStyleCnt="4"/>
      <dgm:spPr/>
      <dgm:t>
        <a:bodyPr/>
        <a:lstStyle/>
        <a:p>
          <a:endParaRPr lang="de-DE"/>
        </a:p>
      </dgm:t>
    </dgm:pt>
    <dgm:pt modelId="{9018E4B0-2DB0-40A8-8D99-A49D96BFB9FA}" type="pres">
      <dgm:prSet presAssocID="{52EB73AF-5361-4FB8-A095-436681B6C5F2}" presName="connectorText" presStyleLbl="sibTrans2D1" presStyleIdx="1" presStyleCnt="4"/>
      <dgm:spPr/>
      <dgm:t>
        <a:bodyPr/>
        <a:lstStyle/>
        <a:p>
          <a:endParaRPr lang="de-DE"/>
        </a:p>
      </dgm:t>
    </dgm:pt>
    <dgm:pt modelId="{F5F9203A-BBB7-47F5-9EBA-437EDC0EF45F}" type="pres">
      <dgm:prSet presAssocID="{3BD0B62E-B601-4A14-93A6-31BB4476587F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A830B4C-5B8A-484E-AD71-9ACA671B1CBC}" type="pres">
      <dgm:prSet presAssocID="{90BB5E9F-040A-4A3B-8ED8-8871ABE24A79}" presName="sibTrans" presStyleLbl="sibTrans2D1" presStyleIdx="2" presStyleCnt="4"/>
      <dgm:spPr/>
      <dgm:t>
        <a:bodyPr/>
        <a:lstStyle/>
        <a:p>
          <a:endParaRPr lang="de-DE"/>
        </a:p>
      </dgm:t>
    </dgm:pt>
    <dgm:pt modelId="{394AB1A3-AFC2-4DC1-9DFF-F05E98A7FA42}" type="pres">
      <dgm:prSet presAssocID="{90BB5E9F-040A-4A3B-8ED8-8871ABE24A79}" presName="connectorText" presStyleLbl="sibTrans2D1" presStyleIdx="2" presStyleCnt="4"/>
      <dgm:spPr/>
      <dgm:t>
        <a:bodyPr/>
        <a:lstStyle/>
        <a:p>
          <a:endParaRPr lang="de-DE"/>
        </a:p>
      </dgm:t>
    </dgm:pt>
    <dgm:pt modelId="{584DF5FE-1B17-4546-9398-683EDF1402AF}" type="pres">
      <dgm:prSet presAssocID="{C2370C4C-E97A-4663-8898-B53C68943C96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D606088-EF79-49D9-96A8-C7CCA3318634}" type="pres">
      <dgm:prSet presAssocID="{C2BA5F46-E46D-4E07-9173-FD920DA6145B}" presName="sibTrans" presStyleLbl="sibTrans2D1" presStyleIdx="3" presStyleCnt="4"/>
      <dgm:spPr/>
      <dgm:t>
        <a:bodyPr/>
        <a:lstStyle/>
        <a:p>
          <a:endParaRPr lang="de-DE"/>
        </a:p>
      </dgm:t>
    </dgm:pt>
    <dgm:pt modelId="{1727E6B8-9E97-482E-AA35-379A7E9B043E}" type="pres">
      <dgm:prSet presAssocID="{C2BA5F46-E46D-4E07-9173-FD920DA6145B}" presName="connectorText" presStyleLbl="sibTrans2D1" presStyleIdx="3" presStyleCnt="4"/>
      <dgm:spPr/>
      <dgm:t>
        <a:bodyPr/>
        <a:lstStyle/>
        <a:p>
          <a:endParaRPr lang="de-DE"/>
        </a:p>
      </dgm:t>
    </dgm:pt>
    <dgm:pt modelId="{F3DCC770-3F4E-4968-A0C7-91F43B39F43C}" type="pres">
      <dgm:prSet presAssocID="{D9565401-D0E6-460E-9F97-7929E4EA4294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F46E1CE-2D25-4A83-9986-CCD912E88581}" srcId="{A39E09DA-B390-48CF-AE7E-411E49542861}" destId="{D4239A19-979C-498B-869D-2AE9D15E6F87}" srcOrd="0" destOrd="0" parTransId="{B1AA1930-5839-46FE-9379-7780ECAC5616}" sibTransId="{1E520B6D-D594-471A-B279-41781FCC2213}"/>
    <dgm:cxn modelId="{04A9835D-40D2-496B-86EE-F213A6A18050}" type="presOf" srcId="{1E520B6D-D594-471A-B279-41781FCC2213}" destId="{8E06E9A0-77CC-4E39-A66D-BB6805685496}" srcOrd="1" destOrd="0" presId="urn:microsoft.com/office/officeart/2005/8/layout/process2"/>
    <dgm:cxn modelId="{97681291-F63D-4C5B-B475-F84AF1EC8EEF}" type="presOf" srcId="{D4239A19-979C-498B-869D-2AE9D15E6F87}" destId="{0E44B740-1B9E-4CB8-B767-3B32F9547718}" srcOrd="0" destOrd="0" presId="urn:microsoft.com/office/officeart/2005/8/layout/process2"/>
    <dgm:cxn modelId="{FF8E3C5F-A2DF-4F8A-90CB-4C0C67482949}" srcId="{A39E09DA-B390-48CF-AE7E-411E49542861}" destId="{D9565401-D0E6-460E-9F97-7929E4EA4294}" srcOrd="4" destOrd="0" parTransId="{785FF9A0-4893-4464-AD15-1718737B9F44}" sibTransId="{E218B665-E6B1-4E83-BA6C-66F0BB30CB2A}"/>
    <dgm:cxn modelId="{61E28594-8668-4193-83BD-EBB9D228E7D4}" srcId="{A39E09DA-B390-48CF-AE7E-411E49542861}" destId="{3BD0B62E-B601-4A14-93A6-31BB4476587F}" srcOrd="2" destOrd="0" parTransId="{26B21DC8-C81E-49DF-A860-26DDF9022549}" sibTransId="{90BB5E9F-040A-4A3B-8ED8-8871ABE24A79}"/>
    <dgm:cxn modelId="{B72B16E5-348A-4B7E-AC13-7AAC99AFD22D}" srcId="{A39E09DA-B390-48CF-AE7E-411E49542861}" destId="{9C52BF91-AB17-45F7-9C8C-B9308903D049}" srcOrd="1" destOrd="0" parTransId="{A6DAA37C-434A-4B12-9AB6-278BA08EA2AD}" sibTransId="{52EB73AF-5361-4FB8-A095-436681B6C5F2}"/>
    <dgm:cxn modelId="{792B485B-6282-4F70-B822-58D1EE9C69C7}" type="presOf" srcId="{52EB73AF-5361-4FB8-A095-436681B6C5F2}" destId="{9018E4B0-2DB0-40A8-8D99-A49D96BFB9FA}" srcOrd="1" destOrd="0" presId="urn:microsoft.com/office/officeart/2005/8/layout/process2"/>
    <dgm:cxn modelId="{E07D729C-FBC2-4E1C-838E-5AB8D3400BC1}" srcId="{A39E09DA-B390-48CF-AE7E-411E49542861}" destId="{C2370C4C-E97A-4663-8898-B53C68943C96}" srcOrd="3" destOrd="0" parTransId="{EB337CD1-9AFE-484F-B17D-3279682B3E68}" sibTransId="{C2BA5F46-E46D-4E07-9173-FD920DA6145B}"/>
    <dgm:cxn modelId="{8CDB718C-A321-4A10-8D64-03981A0DAB22}" type="presOf" srcId="{52EB73AF-5361-4FB8-A095-436681B6C5F2}" destId="{E7FA99CD-830F-4D4A-AABF-1415925CE9DB}" srcOrd="0" destOrd="0" presId="urn:microsoft.com/office/officeart/2005/8/layout/process2"/>
    <dgm:cxn modelId="{13DE4467-8BA0-45B6-9320-09A04905E7F8}" type="presOf" srcId="{A39E09DA-B390-48CF-AE7E-411E49542861}" destId="{4BD8B572-E686-4045-A274-CBB8286508B2}" srcOrd="0" destOrd="0" presId="urn:microsoft.com/office/officeart/2005/8/layout/process2"/>
    <dgm:cxn modelId="{C4A9DA8C-EAE6-4186-BD00-46A43B3B0D24}" type="presOf" srcId="{C2BA5F46-E46D-4E07-9173-FD920DA6145B}" destId="{1727E6B8-9E97-482E-AA35-379A7E9B043E}" srcOrd="1" destOrd="0" presId="urn:microsoft.com/office/officeart/2005/8/layout/process2"/>
    <dgm:cxn modelId="{C7E7CB65-301E-422C-B57C-5AEF01207BFC}" type="presOf" srcId="{90BB5E9F-040A-4A3B-8ED8-8871ABE24A79}" destId="{3A830B4C-5B8A-484E-AD71-9ACA671B1CBC}" srcOrd="0" destOrd="0" presId="urn:microsoft.com/office/officeart/2005/8/layout/process2"/>
    <dgm:cxn modelId="{E987102B-6E71-4031-B385-A8D8BD1D36F9}" type="presOf" srcId="{D9565401-D0E6-460E-9F97-7929E4EA4294}" destId="{F3DCC770-3F4E-4968-A0C7-91F43B39F43C}" srcOrd="0" destOrd="0" presId="urn:microsoft.com/office/officeart/2005/8/layout/process2"/>
    <dgm:cxn modelId="{A70EE04E-C8EF-4D46-9EF4-6DE617D16C3F}" type="presOf" srcId="{C2370C4C-E97A-4663-8898-B53C68943C96}" destId="{584DF5FE-1B17-4546-9398-683EDF1402AF}" srcOrd="0" destOrd="0" presId="urn:microsoft.com/office/officeart/2005/8/layout/process2"/>
    <dgm:cxn modelId="{691E026F-9046-4EE2-9921-5140F83C37EE}" type="presOf" srcId="{90BB5E9F-040A-4A3B-8ED8-8871ABE24A79}" destId="{394AB1A3-AFC2-4DC1-9DFF-F05E98A7FA42}" srcOrd="1" destOrd="0" presId="urn:microsoft.com/office/officeart/2005/8/layout/process2"/>
    <dgm:cxn modelId="{90FF60B9-ADD2-4F7F-970C-FDE0AAAE5334}" type="presOf" srcId="{9C52BF91-AB17-45F7-9C8C-B9308903D049}" destId="{C48A6D12-74DF-41B0-8298-8697FB4162C5}" srcOrd="0" destOrd="0" presId="urn:microsoft.com/office/officeart/2005/8/layout/process2"/>
    <dgm:cxn modelId="{89A76E25-599D-4893-A6BB-89387A8D227D}" type="presOf" srcId="{C2BA5F46-E46D-4E07-9173-FD920DA6145B}" destId="{0D606088-EF79-49D9-96A8-C7CCA3318634}" srcOrd="0" destOrd="0" presId="urn:microsoft.com/office/officeart/2005/8/layout/process2"/>
    <dgm:cxn modelId="{45C56C66-3D63-4914-8C5E-10018008C755}" type="presOf" srcId="{1E520B6D-D594-471A-B279-41781FCC2213}" destId="{7A24FD23-61FA-41E6-BA99-3B239E60B8EB}" srcOrd="0" destOrd="0" presId="urn:microsoft.com/office/officeart/2005/8/layout/process2"/>
    <dgm:cxn modelId="{A7718824-B7C0-4A94-B7EB-31DEE63CDB11}" type="presOf" srcId="{3BD0B62E-B601-4A14-93A6-31BB4476587F}" destId="{F5F9203A-BBB7-47F5-9EBA-437EDC0EF45F}" srcOrd="0" destOrd="0" presId="urn:microsoft.com/office/officeart/2005/8/layout/process2"/>
    <dgm:cxn modelId="{CA834FD7-5FDB-420C-BE96-730B103E4BDC}" type="presParOf" srcId="{4BD8B572-E686-4045-A274-CBB8286508B2}" destId="{0E44B740-1B9E-4CB8-B767-3B32F9547718}" srcOrd="0" destOrd="0" presId="urn:microsoft.com/office/officeart/2005/8/layout/process2"/>
    <dgm:cxn modelId="{282402BF-0947-475A-BC20-BE3D0BA14E39}" type="presParOf" srcId="{4BD8B572-E686-4045-A274-CBB8286508B2}" destId="{7A24FD23-61FA-41E6-BA99-3B239E60B8EB}" srcOrd="1" destOrd="0" presId="urn:microsoft.com/office/officeart/2005/8/layout/process2"/>
    <dgm:cxn modelId="{3C3FB0AA-5192-407F-AC67-BFED8D79CF80}" type="presParOf" srcId="{7A24FD23-61FA-41E6-BA99-3B239E60B8EB}" destId="{8E06E9A0-77CC-4E39-A66D-BB6805685496}" srcOrd="0" destOrd="0" presId="urn:microsoft.com/office/officeart/2005/8/layout/process2"/>
    <dgm:cxn modelId="{F28F3764-BD17-4890-B02A-64A31832E078}" type="presParOf" srcId="{4BD8B572-E686-4045-A274-CBB8286508B2}" destId="{C48A6D12-74DF-41B0-8298-8697FB4162C5}" srcOrd="2" destOrd="0" presId="urn:microsoft.com/office/officeart/2005/8/layout/process2"/>
    <dgm:cxn modelId="{9C264485-655F-40B0-805B-7A0AA81174E4}" type="presParOf" srcId="{4BD8B572-E686-4045-A274-CBB8286508B2}" destId="{E7FA99CD-830F-4D4A-AABF-1415925CE9DB}" srcOrd="3" destOrd="0" presId="urn:microsoft.com/office/officeart/2005/8/layout/process2"/>
    <dgm:cxn modelId="{D51507BA-133C-42C3-9007-455BF3B4E703}" type="presParOf" srcId="{E7FA99CD-830F-4D4A-AABF-1415925CE9DB}" destId="{9018E4B0-2DB0-40A8-8D99-A49D96BFB9FA}" srcOrd="0" destOrd="0" presId="urn:microsoft.com/office/officeart/2005/8/layout/process2"/>
    <dgm:cxn modelId="{ADC171A6-7363-4374-B520-36CFBEE10B13}" type="presParOf" srcId="{4BD8B572-E686-4045-A274-CBB8286508B2}" destId="{F5F9203A-BBB7-47F5-9EBA-437EDC0EF45F}" srcOrd="4" destOrd="0" presId="urn:microsoft.com/office/officeart/2005/8/layout/process2"/>
    <dgm:cxn modelId="{07E2CF9C-B75B-43D3-9878-6BFB79D42ADA}" type="presParOf" srcId="{4BD8B572-E686-4045-A274-CBB8286508B2}" destId="{3A830B4C-5B8A-484E-AD71-9ACA671B1CBC}" srcOrd="5" destOrd="0" presId="urn:microsoft.com/office/officeart/2005/8/layout/process2"/>
    <dgm:cxn modelId="{8EB9057E-60A1-48D9-A5B2-055FDAA3D209}" type="presParOf" srcId="{3A830B4C-5B8A-484E-AD71-9ACA671B1CBC}" destId="{394AB1A3-AFC2-4DC1-9DFF-F05E98A7FA42}" srcOrd="0" destOrd="0" presId="urn:microsoft.com/office/officeart/2005/8/layout/process2"/>
    <dgm:cxn modelId="{7671A86D-61FA-4A3F-BD9D-1D5CA91BD730}" type="presParOf" srcId="{4BD8B572-E686-4045-A274-CBB8286508B2}" destId="{584DF5FE-1B17-4546-9398-683EDF1402AF}" srcOrd="6" destOrd="0" presId="urn:microsoft.com/office/officeart/2005/8/layout/process2"/>
    <dgm:cxn modelId="{8553219B-5B1E-4050-9C2B-5F871444F841}" type="presParOf" srcId="{4BD8B572-E686-4045-A274-CBB8286508B2}" destId="{0D606088-EF79-49D9-96A8-C7CCA3318634}" srcOrd="7" destOrd="0" presId="urn:microsoft.com/office/officeart/2005/8/layout/process2"/>
    <dgm:cxn modelId="{C886920D-FA0A-49D8-BBDA-3174E431AE71}" type="presParOf" srcId="{0D606088-EF79-49D9-96A8-C7CCA3318634}" destId="{1727E6B8-9E97-482E-AA35-379A7E9B043E}" srcOrd="0" destOrd="0" presId="urn:microsoft.com/office/officeart/2005/8/layout/process2"/>
    <dgm:cxn modelId="{3FBCC596-196F-4CE6-A6F2-81597A953054}" type="presParOf" srcId="{4BD8B572-E686-4045-A274-CBB8286508B2}" destId="{F3DCC770-3F4E-4968-A0C7-91F43B39F43C}" srcOrd="8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39E09DA-B390-48CF-AE7E-411E49542861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</dgm:pt>
    <dgm:pt modelId="{D4239A19-979C-498B-869D-2AE9D15E6F87}">
      <dgm:prSet phldrT="[Text]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Anforderungsdefinition</a:t>
          </a:r>
          <a:endParaRPr lang="de-DE" b="1" dirty="0"/>
        </a:p>
      </dgm:t>
    </dgm:pt>
    <dgm:pt modelId="{B1AA1930-5839-46FE-9379-7780ECAC5616}" type="parTrans" cxnId="{0F46E1CE-2D25-4A83-9986-CCD912E88581}">
      <dgm:prSet/>
      <dgm:spPr/>
      <dgm:t>
        <a:bodyPr/>
        <a:lstStyle/>
        <a:p>
          <a:endParaRPr lang="de-DE"/>
        </a:p>
      </dgm:t>
    </dgm:pt>
    <dgm:pt modelId="{1E520B6D-D594-471A-B279-41781FCC2213}" type="sibTrans" cxnId="{0F46E1CE-2D25-4A83-9986-CCD912E88581}">
      <dgm:prSet/>
      <dgm:spPr/>
      <dgm:t>
        <a:bodyPr/>
        <a:lstStyle/>
        <a:p>
          <a:endParaRPr lang="de-DE" b="1"/>
        </a:p>
      </dgm:t>
    </dgm:pt>
    <dgm:pt modelId="{9C52BF91-AB17-45F7-9C8C-B9308903D049}">
      <dgm:prSet phldrT="[Text]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Entwurf</a:t>
          </a:r>
          <a:endParaRPr lang="de-DE" b="1" dirty="0"/>
        </a:p>
      </dgm:t>
    </dgm:pt>
    <dgm:pt modelId="{A6DAA37C-434A-4B12-9AB6-278BA08EA2AD}" type="parTrans" cxnId="{B72B16E5-348A-4B7E-AC13-7AAC99AFD22D}">
      <dgm:prSet/>
      <dgm:spPr/>
      <dgm:t>
        <a:bodyPr/>
        <a:lstStyle/>
        <a:p>
          <a:endParaRPr lang="de-DE"/>
        </a:p>
      </dgm:t>
    </dgm:pt>
    <dgm:pt modelId="{52EB73AF-5361-4FB8-A095-436681B6C5F2}" type="sibTrans" cxnId="{B72B16E5-348A-4B7E-AC13-7AAC99AFD22D}">
      <dgm:prSet/>
      <dgm:spPr/>
      <dgm:t>
        <a:bodyPr/>
        <a:lstStyle/>
        <a:p>
          <a:endParaRPr lang="de-DE" b="1"/>
        </a:p>
      </dgm:t>
    </dgm:pt>
    <dgm:pt modelId="{3BD0B62E-B601-4A14-93A6-31BB4476587F}">
      <dgm:prSet phldrT="[Text]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Implementierung</a:t>
          </a:r>
          <a:endParaRPr lang="de-DE" b="1" dirty="0"/>
        </a:p>
      </dgm:t>
    </dgm:pt>
    <dgm:pt modelId="{26B21DC8-C81E-49DF-A860-26DDF9022549}" type="parTrans" cxnId="{61E28594-8668-4193-83BD-EBB9D228E7D4}">
      <dgm:prSet/>
      <dgm:spPr/>
      <dgm:t>
        <a:bodyPr/>
        <a:lstStyle/>
        <a:p>
          <a:endParaRPr lang="de-DE"/>
        </a:p>
      </dgm:t>
    </dgm:pt>
    <dgm:pt modelId="{90BB5E9F-040A-4A3B-8ED8-8871ABE24A79}" type="sibTrans" cxnId="{61E28594-8668-4193-83BD-EBB9D228E7D4}">
      <dgm:prSet/>
      <dgm:spPr/>
      <dgm:t>
        <a:bodyPr/>
        <a:lstStyle/>
        <a:p>
          <a:endParaRPr lang="de-DE" b="1"/>
        </a:p>
      </dgm:t>
    </dgm:pt>
    <dgm:pt modelId="{C2370C4C-E97A-4663-8898-B53C68943C96}">
      <dgm:prSet phldrT="[Text]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Test</a:t>
          </a:r>
          <a:endParaRPr lang="de-DE" b="1" dirty="0"/>
        </a:p>
      </dgm:t>
    </dgm:pt>
    <dgm:pt modelId="{EB337CD1-9AFE-484F-B17D-3279682B3E68}" type="parTrans" cxnId="{E07D729C-FBC2-4E1C-838E-5AB8D3400BC1}">
      <dgm:prSet/>
      <dgm:spPr/>
      <dgm:t>
        <a:bodyPr/>
        <a:lstStyle/>
        <a:p>
          <a:endParaRPr lang="de-DE"/>
        </a:p>
      </dgm:t>
    </dgm:pt>
    <dgm:pt modelId="{C2BA5F46-E46D-4E07-9173-FD920DA6145B}" type="sibTrans" cxnId="{E07D729C-FBC2-4E1C-838E-5AB8D3400BC1}">
      <dgm:prSet/>
      <dgm:spPr/>
      <dgm:t>
        <a:bodyPr/>
        <a:lstStyle/>
        <a:p>
          <a:endParaRPr lang="de-DE" b="1"/>
        </a:p>
      </dgm:t>
    </dgm:pt>
    <dgm:pt modelId="{D9565401-D0E6-460E-9F97-7929E4EA4294}">
      <dgm:prSet phldrT="[Text]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Inbetriebnahme/Wartung</a:t>
          </a:r>
          <a:endParaRPr lang="de-DE" b="1" dirty="0"/>
        </a:p>
      </dgm:t>
    </dgm:pt>
    <dgm:pt modelId="{785FF9A0-4893-4464-AD15-1718737B9F44}" type="parTrans" cxnId="{FF8E3C5F-A2DF-4F8A-90CB-4C0C67482949}">
      <dgm:prSet/>
      <dgm:spPr/>
      <dgm:t>
        <a:bodyPr/>
        <a:lstStyle/>
        <a:p>
          <a:endParaRPr lang="de-DE"/>
        </a:p>
      </dgm:t>
    </dgm:pt>
    <dgm:pt modelId="{E218B665-E6B1-4E83-BA6C-66F0BB30CB2A}" type="sibTrans" cxnId="{FF8E3C5F-A2DF-4F8A-90CB-4C0C67482949}">
      <dgm:prSet/>
      <dgm:spPr/>
      <dgm:t>
        <a:bodyPr/>
        <a:lstStyle/>
        <a:p>
          <a:endParaRPr lang="de-DE"/>
        </a:p>
      </dgm:t>
    </dgm:pt>
    <dgm:pt modelId="{4BD8B572-E686-4045-A274-CBB8286508B2}" type="pres">
      <dgm:prSet presAssocID="{A39E09DA-B390-48CF-AE7E-411E49542861}" presName="linearFlow" presStyleCnt="0">
        <dgm:presLayoutVars>
          <dgm:resizeHandles val="exact"/>
        </dgm:presLayoutVars>
      </dgm:prSet>
      <dgm:spPr/>
    </dgm:pt>
    <dgm:pt modelId="{0E44B740-1B9E-4CB8-B767-3B32F9547718}" type="pres">
      <dgm:prSet presAssocID="{D4239A19-979C-498B-869D-2AE9D15E6F87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A24FD23-61FA-41E6-BA99-3B239E60B8EB}" type="pres">
      <dgm:prSet presAssocID="{1E520B6D-D594-471A-B279-41781FCC2213}" presName="sibTrans" presStyleLbl="sibTrans2D1" presStyleIdx="0" presStyleCnt="4"/>
      <dgm:spPr/>
      <dgm:t>
        <a:bodyPr/>
        <a:lstStyle/>
        <a:p>
          <a:endParaRPr lang="de-DE"/>
        </a:p>
      </dgm:t>
    </dgm:pt>
    <dgm:pt modelId="{8E06E9A0-77CC-4E39-A66D-BB6805685496}" type="pres">
      <dgm:prSet presAssocID="{1E520B6D-D594-471A-B279-41781FCC2213}" presName="connectorText" presStyleLbl="sibTrans2D1" presStyleIdx="0" presStyleCnt="4"/>
      <dgm:spPr/>
      <dgm:t>
        <a:bodyPr/>
        <a:lstStyle/>
        <a:p>
          <a:endParaRPr lang="de-DE"/>
        </a:p>
      </dgm:t>
    </dgm:pt>
    <dgm:pt modelId="{C48A6D12-74DF-41B0-8298-8697FB4162C5}" type="pres">
      <dgm:prSet presAssocID="{9C52BF91-AB17-45F7-9C8C-B9308903D049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7FA99CD-830F-4D4A-AABF-1415925CE9DB}" type="pres">
      <dgm:prSet presAssocID="{52EB73AF-5361-4FB8-A095-436681B6C5F2}" presName="sibTrans" presStyleLbl="sibTrans2D1" presStyleIdx="1" presStyleCnt="4"/>
      <dgm:spPr/>
      <dgm:t>
        <a:bodyPr/>
        <a:lstStyle/>
        <a:p>
          <a:endParaRPr lang="de-DE"/>
        </a:p>
      </dgm:t>
    </dgm:pt>
    <dgm:pt modelId="{9018E4B0-2DB0-40A8-8D99-A49D96BFB9FA}" type="pres">
      <dgm:prSet presAssocID="{52EB73AF-5361-4FB8-A095-436681B6C5F2}" presName="connectorText" presStyleLbl="sibTrans2D1" presStyleIdx="1" presStyleCnt="4"/>
      <dgm:spPr/>
      <dgm:t>
        <a:bodyPr/>
        <a:lstStyle/>
        <a:p>
          <a:endParaRPr lang="de-DE"/>
        </a:p>
      </dgm:t>
    </dgm:pt>
    <dgm:pt modelId="{F5F9203A-BBB7-47F5-9EBA-437EDC0EF45F}" type="pres">
      <dgm:prSet presAssocID="{3BD0B62E-B601-4A14-93A6-31BB4476587F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A830B4C-5B8A-484E-AD71-9ACA671B1CBC}" type="pres">
      <dgm:prSet presAssocID="{90BB5E9F-040A-4A3B-8ED8-8871ABE24A79}" presName="sibTrans" presStyleLbl="sibTrans2D1" presStyleIdx="2" presStyleCnt="4"/>
      <dgm:spPr/>
      <dgm:t>
        <a:bodyPr/>
        <a:lstStyle/>
        <a:p>
          <a:endParaRPr lang="de-DE"/>
        </a:p>
      </dgm:t>
    </dgm:pt>
    <dgm:pt modelId="{394AB1A3-AFC2-4DC1-9DFF-F05E98A7FA42}" type="pres">
      <dgm:prSet presAssocID="{90BB5E9F-040A-4A3B-8ED8-8871ABE24A79}" presName="connectorText" presStyleLbl="sibTrans2D1" presStyleIdx="2" presStyleCnt="4"/>
      <dgm:spPr/>
      <dgm:t>
        <a:bodyPr/>
        <a:lstStyle/>
        <a:p>
          <a:endParaRPr lang="de-DE"/>
        </a:p>
      </dgm:t>
    </dgm:pt>
    <dgm:pt modelId="{584DF5FE-1B17-4546-9398-683EDF1402AF}" type="pres">
      <dgm:prSet presAssocID="{C2370C4C-E97A-4663-8898-B53C68943C96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D606088-EF79-49D9-96A8-C7CCA3318634}" type="pres">
      <dgm:prSet presAssocID="{C2BA5F46-E46D-4E07-9173-FD920DA6145B}" presName="sibTrans" presStyleLbl="sibTrans2D1" presStyleIdx="3" presStyleCnt="4"/>
      <dgm:spPr/>
      <dgm:t>
        <a:bodyPr/>
        <a:lstStyle/>
        <a:p>
          <a:endParaRPr lang="de-DE"/>
        </a:p>
      </dgm:t>
    </dgm:pt>
    <dgm:pt modelId="{1727E6B8-9E97-482E-AA35-379A7E9B043E}" type="pres">
      <dgm:prSet presAssocID="{C2BA5F46-E46D-4E07-9173-FD920DA6145B}" presName="connectorText" presStyleLbl="sibTrans2D1" presStyleIdx="3" presStyleCnt="4"/>
      <dgm:spPr/>
      <dgm:t>
        <a:bodyPr/>
        <a:lstStyle/>
        <a:p>
          <a:endParaRPr lang="de-DE"/>
        </a:p>
      </dgm:t>
    </dgm:pt>
    <dgm:pt modelId="{F3DCC770-3F4E-4968-A0C7-91F43B39F43C}" type="pres">
      <dgm:prSet presAssocID="{D9565401-D0E6-460E-9F97-7929E4EA4294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522A68C-3AA7-4A71-BC70-835B1E8F4767}" type="presOf" srcId="{C2370C4C-E97A-4663-8898-B53C68943C96}" destId="{584DF5FE-1B17-4546-9398-683EDF1402AF}" srcOrd="0" destOrd="0" presId="urn:microsoft.com/office/officeart/2005/8/layout/process2"/>
    <dgm:cxn modelId="{0F46E1CE-2D25-4A83-9986-CCD912E88581}" srcId="{A39E09DA-B390-48CF-AE7E-411E49542861}" destId="{D4239A19-979C-498B-869D-2AE9D15E6F87}" srcOrd="0" destOrd="0" parTransId="{B1AA1930-5839-46FE-9379-7780ECAC5616}" sibTransId="{1E520B6D-D594-471A-B279-41781FCC2213}"/>
    <dgm:cxn modelId="{A6E98FD3-B668-443C-81B5-0BAFFF47229E}" type="presOf" srcId="{52EB73AF-5361-4FB8-A095-436681B6C5F2}" destId="{E7FA99CD-830F-4D4A-AABF-1415925CE9DB}" srcOrd="0" destOrd="0" presId="urn:microsoft.com/office/officeart/2005/8/layout/process2"/>
    <dgm:cxn modelId="{83EAE53D-5681-4BA7-9F83-3FEEC2D7DE2E}" type="presOf" srcId="{9C52BF91-AB17-45F7-9C8C-B9308903D049}" destId="{C48A6D12-74DF-41B0-8298-8697FB4162C5}" srcOrd="0" destOrd="0" presId="urn:microsoft.com/office/officeart/2005/8/layout/process2"/>
    <dgm:cxn modelId="{FF8E3C5F-A2DF-4F8A-90CB-4C0C67482949}" srcId="{A39E09DA-B390-48CF-AE7E-411E49542861}" destId="{D9565401-D0E6-460E-9F97-7929E4EA4294}" srcOrd="4" destOrd="0" parTransId="{785FF9A0-4893-4464-AD15-1718737B9F44}" sibTransId="{E218B665-E6B1-4E83-BA6C-66F0BB30CB2A}"/>
    <dgm:cxn modelId="{95BC95E7-EAB2-4238-A5B8-8B5CCDB74AB1}" type="presOf" srcId="{1E520B6D-D594-471A-B279-41781FCC2213}" destId="{7A24FD23-61FA-41E6-BA99-3B239E60B8EB}" srcOrd="0" destOrd="0" presId="urn:microsoft.com/office/officeart/2005/8/layout/process2"/>
    <dgm:cxn modelId="{7D84AC5F-C7C6-40BC-9423-33E7C98DAE54}" type="presOf" srcId="{90BB5E9F-040A-4A3B-8ED8-8871ABE24A79}" destId="{394AB1A3-AFC2-4DC1-9DFF-F05E98A7FA42}" srcOrd="1" destOrd="0" presId="urn:microsoft.com/office/officeart/2005/8/layout/process2"/>
    <dgm:cxn modelId="{61E28594-8668-4193-83BD-EBB9D228E7D4}" srcId="{A39E09DA-B390-48CF-AE7E-411E49542861}" destId="{3BD0B62E-B601-4A14-93A6-31BB4476587F}" srcOrd="2" destOrd="0" parTransId="{26B21DC8-C81E-49DF-A860-26DDF9022549}" sibTransId="{90BB5E9F-040A-4A3B-8ED8-8871ABE24A79}"/>
    <dgm:cxn modelId="{B72B16E5-348A-4B7E-AC13-7AAC99AFD22D}" srcId="{A39E09DA-B390-48CF-AE7E-411E49542861}" destId="{9C52BF91-AB17-45F7-9C8C-B9308903D049}" srcOrd="1" destOrd="0" parTransId="{A6DAA37C-434A-4B12-9AB6-278BA08EA2AD}" sibTransId="{52EB73AF-5361-4FB8-A095-436681B6C5F2}"/>
    <dgm:cxn modelId="{E07D729C-FBC2-4E1C-838E-5AB8D3400BC1}" srcId="{A39E09DA-B390-48CF-AE7E-411E49542861}" destId="{C2370C4C-E97A-4663-8898-B53C68943C96}" srcOrd="3" destOrd="0" parTransId="{EB337CD1-9AFE-484F-B17D-3279682B3E68}" sibTransId="{C2BA5F46-E46D-4E07-9173-FD920DA6145B}"/>
    <dgm:cxn modelId="{DAED18AA-1D20-497A-9412-43C874F7786E}" type="presOf" srcId="{3BD0B62E-B601-4A14-93A6-31BB4476587F}" destId="{F5F9203A-BBB7-47F5-9EBA-437EDC0EF45F}" srcOrd="0" destOrd="0" presId="urn:microsoft.com/office/officeart/2005/8/layout/process2"/>
    <dgm:cxn modelId="{AE102AB8-ADA5-452E-A8B9-1F5FAD86C1A0}" type="presOf" srcId="{1E520B6D-D594-471A-B279-41781FCC2213}" destId="{8E06E9A0-77CC-4E39-A66D-BB6805685496}" srcOrd="1" destOrd="0" presId="urn:microsoft.com/office/officeart/2005/8/layout/process2"/>
    <dgm:cxn modelId="{505567E2-257D-48BE-8E00-2EF9E521C70E}" type="presOf" srcId="{90BB5E9F-040A-4A3B-8ED8-8871ABE24A79}" destId="{3A830B4C-5B8A-484E-AD71-9ACA671B1CBC}" srcOrd="0" destOrd="0" presId="urn:microsoft.com/office/officeart/2005/8/layout/process2"/>
    <dgm:cxn modelId="{A9494087-F3DA-4A78-B2E7-3EED2F164267}" type="presOf" srcId="{D9565401-D0E6-460E-9F97-7929E4EA4294}" destId="{F3DCC770-3F4E-4968-A0C7-91F43B39F43C}" srcOrd="0" destOrd="0" presId="urn:microsoft.com/office/officeart/2005/8/layout/process2"/>
    <dgm:cxn modelId="{45E36A5F-09AD-4B1F-BEA9-7CD64AD7FB0D}" type="presOf" srcId="{52EB73AF-5361-4FB8-A095-436681B6C5F2}" destId="{9018E4B0-2DB0-40A8-8D99-A49D96BFB9FA}" srcOrd="1" destOrd="0" presId="urn:microsoft.com/office/officeart/2005/8/layout/process2"/>
    <dgm:cxn modelId="{50807687-6129-43C5-9C0E-8DD43EF92F95}" type="presOf" srcId="{C2BA5F46-E46D-4E07-9173-FD920DA6145B}" destId="{0D606088-EF79-49D9-96A8-C7CCA3318634}" srcOrd="0" destOrd="0" presId="urn:microsoft.com/office/officeart/2005/8/layout/process2"/>
    <dgm:cxn modelId="{144EA807-AB84-4EDF-AB52-0F3CA5B2A20C}" type="presOf" srcId="{C2BA5F46-E46D-4E07-9173-FD920DA6145B}" destId="{1727E6B8-9E97-482E-AA35-379A7E9B043E}" srcOrd="1" destOrd="0" presId="urn:microsoft.com/office/officeart/2005/8/layout/process2"/>
    <dgm:cxn modelId="{D3BB4E3B-BCD5-469B-B854-D83A0E4181B8}" type="presOf" srcId="{A39E09DA-B390-48CF-AE7E-411E49542861}" destId="{4BD8B572-E686-4045-A274-CBB8286508B2}" srcOrd="0" destOrd="0" presId="urn:microsoft.com/office/officeart/2005/8/layout/process2"/>
    <dgm:cxn modelId="{B8C6B736-056B-414B-B226-6EF7F367B543}" type="presOf" srcId="{D4239A19-979C-498B-869D-2AE9D15E6F87}" destId="{0E44B740-1B9E-4CB8-B767-3B32F9547718}" srcOrd="0" destOrd="0" presId="urn:microsoft.com/office/officeart/2005/8/layout/process2"/>
    <dgm:cxn modelId="{FBCA2903-44C8-4FCB-A78F-3E485D388422}" type="presParOf" srcId="{4BD8B572-E686-4045-A274-CBB8286508B2}" destId="{0E44B740-1B9E-4CB8-B767-3B32F9547718}" srcOrd="0" destOrd="0" presId="urn:microsoft.com/office/officeart/2005/8/layout/process2"/>
    <dgm:cxn modelId="{8FB6875E-6843-4AA3-AF45-E4C8063CF40D}" type="presParOf" srcId="{4BD8B572-E686-4045-A274-CBB8286508B2}" destId="{7A24FD23-61FA-41E6-BA99-3B239E60B8EB}" srcOrd="1" destOrd="0" presId="urn:microsoft.com/office/officeart/2005/8/layout/process2"/>
    <dgm:cxn modelId="{A69EC4EF-D632-4C97-A5B5-FF7FC04C753F}" type="presParOf" srcId="{7A24FD23-61FA-41E6-BA99-3B239E60B8EB}" destId="{8E06E9A0-77CC-4E39-A66D-BB6805685496}" srcOrd="0" destOrd="0" presId="urn:microsoft.com/office/officeart/2005/8/layout/process2"/>
    <dgm:cxn modelId="{4DB16762-4D5B-4B2D-8FB8-9941AD188FF4}" type="presParOf" srcId="{4BD8B572-E686-4045-A274-CBB8286508B2}" destId="{C48A6D12-74DF-41B0-8298-8697FB4162C5}" srcOrd="2" destOrd="0" presId="urn:microsoft.com/office/officeart/2005/8/layout/process2"/>
    <dgm:cxn modelId="{7D8C4FF6-BDD2-4502-A5D9-928C38A493A4}" type="presParOf" srcId="{4BD8B572-E686-4045-A274-CBB8286508B2}" destId="{E7FA99CD-830F-4D4A-AABF-1415925CE9DB}" srcOrd="3" destOrd="0" presId="urn:microsoft.com/office/officeart/2005/8/layout/process2"/>
    <dgm:cxn modelId="{D6A08144-8D57-419D-A05F-F544C25C7099}" type="presParOf" srcId="{E7FA99CD-830F-4D4A-AABF-1415925CE9DB}" destId="{9018E4B0-2DB0-40A8-8D99-A49D96BFB9FA}" srcOrd="0" destOrd="0" presId="urn:microsoft.com/office/officeart/2005/8/layout/process2"/>
    <dgm:cxn modelId="{E7EA3E98-2E3E-4725-8304-83EEDFC02B88}" type="presParOf" srcId="{4BD8B572-E686-4045-A274-CBB8286508B2}" destId="{F5F9203A-BBB7-47F5-9EBA-437EDC0EF45F}" srcOrd="4" destOrd="0" presId="urn:microsoft.com/office/officeart/2005/8/layout/process2"/>
    <dgm:cxn modelId="{FD3A243F-9E60-4335-BCC8-75A62A056C5E}" type="presParOf" srcId="{4BD8B572-E686-4045-A274-CBB8286508B2}" destId="{3A830B4C-5B8A-484E-AD71-9ACA671B1CBC}" srcOrd="5" destOrd="0" presId="urn:microsoft.com/office/officeart/2005/8/layout/process2"/>
    <dgm:cxn modelId="{D3F217F7-BA60-4224-9DC9-B081D0DA1903}" type="presParOf" srcId="{3A830B4C-5B8A-484E-AD71-9ACA671B1CBC}" destId="{394AB1A3-AFC2-4DC1-9DFF-F05E98A7FA42}" srcOrd="0" destOrd="0" presId="urn:microsoft.com/office/officeart/2005/8/layout/process2"/>
    <dgm:cxn modelId="{BD8F9693-949E-424C-8C42-75A23D0951A7}" type="presParOf" srcId="{4BD8B572-E686-4045-A274-CBB8286508B2}" destId="{584DF5FE-1B17-4546-9398-683EDF1402AF}" srcOrd="6" destOrd="0" presId="urn:microsoft.com/office/officeart/2005/8/layout/process2"/>
    <dgm:cxn modelId="{4E040247-C90B-4939-ACCD-13B48EA177EA}" type="presParOf" srcId="{4BD8B572-E686-4045-A274-CBB8286508B2}" destId="{0D606088-EF79-49D9-96A8-C7CCA3318634}" srcOrd="7" destOrd="0" presId="urn:microsoft.com/office/officeart/2005/8/layout/process2"/>
    <dgm:cxn modelId="{9E9D3F1D-A5D7-443F-B138-3BC9F8A4CC4A}" type="presParOf" srcId="{0D606088-EF79-49D9-96A8-C7CCA3318634}" destId="{1727E6B8-9E97-482E-AA35-379A7E9B043E}" srcOrd="0" destOrd="0" presId="urn:microsoft.com/office/officeart/2005/8/layout/process2"/>
    <dgm:cxn modelId="{17E48031-1093-433A-AEB2-22D5DC92DE78}" type="presParOf" srcId="{4BD8B572-E686-4045-A274-CBB8286508B2}" destId="{F3DCC770-3F4E-4968-A0C7-91F43B39F43C}" srcOrd="8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A39E09DA-B390-48CF-AE7E-411E49542861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</dgm:pt>
    <dgm:pt modelId="{D4239A19-979C-498B-869D-2AE9D15E6F87}">
      <dgm:prSet phldrT="[Text]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Anforderungsdefinition</a:t>
          </a:r>
          <a:endParaRPr lang="de-DE" b="1" dirty="0"/>
        </a:p>
      </dgm:t>
    </dgm:pt>
    <dgm:pt modelId="{B1AA1930-5839-46FE-9379-7780ECAC5616}" type="parTrans" cxnId="{0F46E1CE-2D25-4A83-9986-CCD912E88581}">
      <dgm:prSet/>
      <dgm:spPr/>
      <dgm:t>
        <a:bodyPr/>
        <a:lstStyle/>
        <a:p>
          <a:endParaRPr lang="de-DE"/>
        </a:p>
      </dgm:t>
    </dgm:pt>
    <dgm:pt modelId="{1E520B6D-D594-471A-B279-41781FCC2213}" type="sibTrans" cxnId="{0F46E1CE-2D25-4A83-9986-CCD912E88581}">
      <dgm:prSet/>
      <dgm:spPr/>
      <dgm:t>
        <a:bodyPr/>
        <a:lstStyle/>
        <a:p>
          <a:endParaRPr lang="de-DE" b="1"/>
        </a:p>
      </dgm:t>
    </dgm:pt>
    <dgm:pt modelId="{9C52BF91-AB17-45F7-9C8C-B9308903D049}">
      <dgm:prSet phldrT="[Text]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Entwurf</a:t>
          </a:r>
          <a:endParaRPr lang="de-DE" b="1" dirty="0"/>
        </a:p>
      </dgm:t>
    </dgm:pt>
    <dgm:pt modelId="{A6DAA37C-434A-4B12-9AB6-278BA08EA2AD}" type="parTrans" cxnId="{B72B16E5-348A-4B7E-AC13-7AAC99AFD22D}">
      <dgm:prSet/>
      <dgm:spPr/>
      <dgm:t>
        <a:bodyPr/>
        <a:lstStyle/>
        <a:p>
          <a:endParaRPr lang="de-DE"/>
        </a:p>
      </dgm:t>
    </dgm:pt>
    <dgm:pt modelId="{52EB73AF-5361-4FB8-A095-436681B6C5F2}" type="sibTrans" cxnId="{B72B16E5-348A-4B7E-AC13-7AAC99AFD22D}">
      <dgm:prSet/>
      <dgm:spPr/>
      <dgm:t>
        <a:bodyPr/>
        <a:lstStyle/>
        <a:p>
          <a:endParaRPr lang="de-DE" b="1"/>
        </a:p>
      </dgm:t>
    </dgm:pt>
    <dgm:pt modelId="{3BD0B62E-B601-4A14-93A6-31BB4476587F}">
      <dgm:prSet phldrT="[Text]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Implementierung</a:t>
          </a:r>
          <a:endParaRPr lang="de-DE" b="1" dirty="0"/>
        </a:p>
      </dgm:t>
    </dgm:pt>
    <dgm:pt modelId="{26B21DC8-C81E-49DF-A860-26DDF9022549}" type="parTrans" cxnId="{61E28594-8668-4193-83BD-EBB9D228E7D4}">
      <dgm:prSet/>
      <dgm:spPr/>
      <dgm:t>
        <a:bodyPr/>
        <a:lstStyle/>
        <a:p>
          <a:endParaRPr lang="de-DE"/>
        </a:p>
      </dgm:t>
    </dgm:pt>
    <dgm:pt modelId="{90BB5E9F-040A-4A3B-8ED8-8871ABE24A79}" type="sibTrans" cxnId="{61E28594-8668-4193-83BD-EBB9D228E7D4}">
      <dgm:prSet/>
      <dgm:spPr/>
      <dgm:t>
        <a:bodyPr/>
        <a:lstStyle/>
        <a:p>
          <a:endParaRPr lang="de-DE" b="1"/>
        </a:p>
      </dgm:t>
    </dgm:pt>
    <dgm:pt modelId="{C2370C4C-E97A-4663-8898-B53C68943C96}">
      <dgm:prSet phldrT="[Text]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Test</a:t>
          </a:r>
          <a:endParaRPr lang="de-DE" b="1" dirty="0"/>
        </a:p>
      </dgm:t>
    </dgm:pt>
    <dgm:pt modelId="{EB337CD1-9AFE-484F-B17D-3279682B3E68}" type="parTrans" cxnId="{E07D729C-FBC2-4E1C-838E-5AB8D3400BC1}">
      <dgm:prSet/>
      <dgm:spPr/>
      <dgm:t>
        <a:bodyPr/>
        <a:lstStyle/>
        <a:p>
          <a:endParaRPr lang="de-DE"/>
        </a:p>
      </dgm:t>
    </dgm:pt>
    <dgm:pt modelId="{C2BA5F46-E46D-4E07-9173-FD920DA6145B}" type="sibTrans" cxnId="{E07D729C-FBC2-4E1C-838E-5AB8D3400BC1}">
      <dgm:prSet/>
      <dgm:spPr/>
      <dgm:t>
        <a:bodyPr/>
        <a:lstStyle/>
        <a:p>
          <a:endParaRPr lang="de-DE" b="1"/>
        </a:p>
      </dgm:t>
    </dgm:pt>
    <dgm:pt modelId="{D9565401-D0E6-460E-9F97-7929E4EA4294}">
      <dgm:prSet phldrT="[Text]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Inbetriebnahme/Wartung</a:t>
          </a:r>
          <a:endParaRPr lang="de-DE" b="1" dirty="0"/>
        </a:p>
      </dgm:t>
    </dgm:pt>
    <dgm:pt modelId="{785FF9A0-4893-4464-AD15-1718737B9F44}" type="parTrans" cxnId="{FF8E3C5F-A2DF-4F8A-90CB-4C0C67482949}">
      <dgm:prSet/>
      <dgm:spPr/>
      <dgm:t>
        <a:bodyPr/>
        <a:lstStyle/>
        <a:p>
          <a:endParaRPr lang="de-DE"/>
        </a:p>
      </dgm:t>
    </dgm:pt>
    <dgm:pt modelId="{E218B665-E6B1-4E83-BA6C-66F0BB30CB2A}" type="sibTrans" cxnId="{FF8E3C5F-A2DF-4F8A-90CB-4C0C67482949}">
      <dgm:prSet/>
      <dgm:spPr/>
      <dgm:t>
        <a:bodyPr/>
        <a:lstStyle/>
        <a:p>
          <a:endParaRPr lang="de-DE"/>
        </a:p>
      </dgm:t>
    </dgm:pt>
    <dgm:pt modelId="{4BD8B572-E686-4045-A274-CBB8286508B2}" type="pres">
      <dgm:prSet presAssocID="{A39E09DA-B390-48CF-AE7E-411E49542861}" presName="linearFlow" presStyleCnt="0">
        <dgm:presLayoutVars>
          <dgm:resizeHandles val="exact"/>
        </dgm:presLayoutVars>
      </dgm:prSet>
      <dgm:spPr/>
    </dgm:pt>
    <dgm:pt modelId="{0E44B740-1B9E-4CB8-B767-3B32F9547718}" type="pres">
      <dgm:prSet presAssocID="{D4239A19-979C-498B-869D-2AE9D15E6F87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A24FD23-61FA-41E6-BA99-3B239E60B8EB}" type="pres">
      <dgm:prSet presAssocID="{1E520B6D-D594-471A-B279-41781FCC2213}" presName="sibTrans" presStyleLbl="sibTrans2D1" presStyleIdx="0" presStyleCnt="4"/>
      <dgm:spPr/>
      <dgm:t>
        <a:bodyPr/>
        <a:lstStyle/>
        <a:p>
          <a:endParaRPr lang="de-DE"/>
        </a:p>
      </dgm:t>
    </dgm:pt>
    <dgm:pt modelId="{8E06E9A0-77CC-4E39-A66D-BB6805685496}" type="pres">
      <dgm:prSet presAssocID="{1E520B6D-D594-471A-B279-41781FCC2213}" presName="connectorText" presStyleLbl="sibTrans2D1" presStyleIdx="0" presStyleCnt="4"/>
      <dgm:spPr/>
      <dgm:t>
        <a:bodyPr/>
        <a:lstStyle/>
        <a:p>
          <a:endParaRPr lang="de-DE"/>
        </a:p>
      </dgm:t>
    </dgm:pt>
    <dgm:pt modelId="{C48A6D12-74DF-41B0-8298-8697FB4162C5}" type="pres">
      <dgm:prSet presAssocID="{9C52BF91-AB17-45F7-9C8C-B9308903D049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7FA99CD-830F-4D4A-AABF-1415925CE9DB}" type="pres">
      <dgm:prSet presAssocID="{52EB73AF-5361-4FB8-A095-436681B6C5F2}" presName="sibTrans" presStyleLbl="sibTrans2D1" presStyleIdx="1" presStyleCnt="4"/>
      <dgm:spPr/>
      <dgm:t>
        <a:bodyPr/>
        <a:lstStyle/>
        <a:p>
          <a:endParaRPr lang="de-DE"/>
        </a:p>
      </dgm:t>
    </dgm:pt>
    <dgm:pt modelId="{9018E4B0-2DB0-40A8-8D99-A49D96BFB9FA}" type="pres">
      <dgm:prSet presAssocID="{52EB73AF-5361-4FB8-A095-436681B6C5F2}" presName="connectorText" presStyleLbl="sibTrans2D1" presStyleIdx="1" presStyleCnt="4"/>
      <dgm:spPr/>
      <dgm:t>
        <a:bodyPr/>
        <a:lstStyle/>
        <a:p>
          <a:endParaRPr lang="de-DE"/>
        </a:p>
      </dgm:t>
    </dgm:pt>
    <dgm:pt modelId="{F5F9203A-BBB7-47F5-9EBA-437EDC0EF45F}" type="pres">
      <dgm:prSet presAssocID="{3BD0B62E-B601-4A14-93A6-31BB4476587F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A830B4C-5B8A-484E-AD71-9ACA671B1CBC}" type="pres">
      <dgm:prSet presAssocID="{90BB5E9F-040A-4A3B-8ED8-8871ABE24A79}" presName="sibTrans" presStyleLbl="sibTrans2D1" presStyleIdx="2" presStyleCnt="4"/>
      <dgm:spPr/>
      <dgm:t>
        <a:bodyPr/>
        <a:lstStyle/>
        <a:p>
          <a:endParaRPr lang="de-DE"/>
        </a:p>
      </dgm:t>
    </dgm:pt>
    <dgm:pt modelId="{394AB1A3-AFC2-4DC1-9DFF-F05E98A7FA42}" type="pres">
      <dgm:prSet presAssocID="{90BB5E9F-040A-4A3B-8ED8-8871ABE24A79}" presName="connectorText" presStyleLbl="sibTrans2D1" presStyleIdx="2" presStyleCnt="4"/>
      <dgm:spPr/>
      <dgm:t>
        <a:bodyPr/>
        <a:lstStyle/>
        <a:p>
          <a:endParaRPr lang="de-DE"/>
        </a:p>
      </dgm:t>
    </dgm:pt>
    <dgm:pt modelId="{584DF5FE-1B17-4546-9398-683EDF1402AF}" type="pres">
      <dgm:prSet presAssocID="{C2370C4C-E97A-4663-8898-B53C68943C96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D606088-EF79-49D9-96A8-C7CCA3318634}" type="pres">
      <dgm:prSet presAssocID="{C2BA5F46-E46D-4E07-9173-FD920DA6145B}" presName="sibTrans" presStyleLbl="sibTrans2D1" presStyleIdx="3" presStyleCnt="4"/>
      <dgm:spPr/>
      <dgm:t>
        <a:bodyPr/>
        <a:lstStyle/>
        <a:p>
          <a:endParaRPr lang="de-DE"/>
        </a:p>
      </dgm:t>
    </dgm:pt>
    <dgm:pt modelId="{1727E6B8-9E97-482E-AA35-379A7E9B043E}" type="pres">
      <dgm:prSet presAssocID="{C2BA5F46-E46D-4E07-9173-FD920DA6145B}" presName="connectorText" presStyleLbl="sibTrans2D1" presStyleIdx="3" presStyleCnt="4"/>
      <dgm:spPr/>
      <dgm:t>
        <a:bodyPr/>
        <a:lstStyle/>
        <a:p>
          <a:endParaRPr lang="de-DE"/>
        </a:p>
      </dgm:t>
    </dgm:pt>
    <dgm:pt modelId="{F3DCC770-3F4E-4968-A0C7-91F43B39F43C}" type="pres">
      <dgm:prSet presAssocID="{D9565401-D0E6-460E-9F97-7929E4EA4294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522FF5-AECC-4A02-8C4B-BB6FD68AE5B4}" type="presOf" srcId="{C2370C4C-E97A-4663-8898-B53C68943C96}" destId="{584DF5FE-1B17-4546-9398-683EDF1402AF}" srcOrd="0" destOrd="0" presId="urn:microsoft.com/office/officeart/2005/8/layout/process2"/>
    <dgm:cxn modelId="{B81F13E2-6E80-45FB-BC88-FF63C68EF1A8}" type="presOf" srcId="{D9565401-D0E6-460E-9F97-7929E4EA4294}" destId="{F3DCC770-3F4E-4968-A0C7-91F43B39F43C}" srcOrd="0" destOrd="0" presId="urn:microsoft.com/office/officeart/2005/8/layout/process2"/>
    <dgm:cxn modelId="{0F46E1CE-2D25-4A83-9986-CCD912E88581}" srcId="{A39E09DA-B390-48CF-AE7E-411E49542861}" destId="{D4239A19-979C-498B-869D-2AE9D15E6F87}" srcOrd="0" destOrd="0" parTransId="{B1AA1930-5839-46FE-9379-7780ECAC5616}" sibTransId="{1E520B6D-D594-471A-B279-41781FCC2213}"/>
    <dgm:cxn modelId="{ECF34A78-D9FC-496C-92C4-22E58836A93E}" type="presOf" srcId="{C2BA5F46-E46D-4E07-9173-FD920DA6145B}" destId="{0D606088-EF79-49D9-96A8-C7CCA3318634}" srcOrd="0" destOrd="0" presId="urn:microsoft.com/office/officeart/2005/8/layout/process2"/>
    <dgm:cxn modelId="{FF8E3C5F-A2DF-4F8A-90CB-4C0C67482949}" srcId="{A39E09DA-B390-48CF-AE7E-411E49542861}" destId="{D9565401-D0E6-460E-9F97-7929E4EA4294}" srcOrd="4" destOrd="0" parTransId="{785FF9A0-4893-4464-AD15-1718737B9F44}" sibTransId="{E218B665-E6B1-4E83-BA6C-66F0BB30CB2A}"/>
    <dgm:cxn modelId="{C935D8CB-8358-4B16-90D2-0BCEC735F111}" type="presOf" srcId="{90BB5E9F-040A-4A3B-8ED8-8871ABE24A79}" destId="{3A830B4C-5B8A-484E-AD71-9ACA671B1CBC}" srcOrd="0" destOrd="0" presId="urn:microsoft.com/office/officeart/2005/8/layout/process2"/>
    <dgm:cxn modelId="{61E28594-8668-4193-83BD-EBB9D228E7D4}" srcId="{A39E09DA-B390-48CF-AE7E-411E49542861}" destId="{3BD0B62E-B601-4A14-93A6-31BB4476587F}" srcOrd="2" destOrd="0" parTransId="{26B21DC8-C81E-49DF-A860-26DDF9022549}" sibTransId="{90BB5E9F-040A-4A3B-8ED8-8871ABE24A79}"/>
    <dgm:cxn modelId="{B72B16E5-348A-4B7E-AC13-7AAC99AFD22D}" srcId="{A39E09DA-B390-48CF-AE7E-411E49542861}" destId="{9C52BF91-AB17-45F7-9C8C-B9308903D049}" srcOrd="1" destOrd="0" parTransId="{A6DAA37C-434A-4B12-9AB6-278BA08EA2AD}" sibTransId="{52EB73AF-5361-4FB8-A095-436681B6C5F2}"/>
    <dgm:cxn modelId="{E07D729C-FBC2-4E1C-838E-5AB8D3400BC1}" srcId="{A39E09DA-B390-48CF-AE7E-411E49542861}" destId="{C2370C4C-E97A-4663-8898-B53C68943C96}" srcOrd="3" destOrd="0" parTransId="{EB337CD1-9AFE-484F-B17D-3279682B3E68}" sibTransId="{C2BA5F46-E46D-4E07-9173-FD920DA6145B}"/>
    <dgm:cxn modelId="{ECC57C1D-789C-4D48-AA15-2A3AEF427A8A}" type="presOf" srcId="{A39E09DA-B390-48CF-AE7E-411E49542861}" destId="{4BD8B572-E686-4045-A274-CBB8286508B2}" srcOrd="0" destOrd="0" presId="urn:microsoft.com/office/officeart/2005/8/layout/process2"/>
    <dgm:cxn modelId="{2EFF522A-C080-4706-A885-9BED4E7826A5}" type="presOf" srcId="{1E520B6D-D594-471A-B279-41781FCC2213}" destId="{8E06E9A0-77CC-4E39-A66D-BB6805685496}" srcOrd="1" destOrd="0" presId="urn:microsoft.com/office/officeart/2005/8/layout/process2"/>
    <dgm:cxn modelId="{5C013D61-E46C-4F7D-8E5A-A0BFC622D4BC}" type="presOf" srcId="{3BD0B62E-B601-4A14-93A6-31BB4476587F}" destId="{F5F9203A-BBB7-47F5-9EBA-437EDC0EF45F}" srcOrd="0" destOrd="0" presId="urn:microsoft.com/office/officeart/2005/8/layout/process2"/>
    <dgm:cxn modelId="{8BF0147D-CF9E-4C44-9AB6-9D55DAB74A97}" type="presOf" srcId="{1E520B6D-D594-471A-B279-41781FCC2213}" destId="{7A24FD23-61FA-41E6-BA99-3B239E60B8EB}" srcOrd="0" destOrd="0" presId="urn:microsoft.com/office/officeart/2005/8/layout/process2"/>
    <dgm:cxn modelId="{FE926525-B46E-42BE-A0A2-DBAD27A1E397}" type="presOf" srcId="{52EB73AF-5361-4FB8-A095-436681B6C5F2}" destId="{9018E4B0-2DB0-40A8-8D99-A49D96BFB9FA}" srcOrd="1" destOrd="0" presId="urn:microsoft.com/office/officeart/2005/8/layout/process2"/>
    <dgm:cxn modelId="{C1D7C065-B68C-4A40-9614-19ECD4B1486E}" type="presOf" srcId="{9C52BF91-AB17-45F7-9C8C-B9308903D049}" destId="{C48A6D12-74DF-41B0-8298-8697FB4162C5}" srcOrd="0" destOrd="0" presId="urn:microsoft.com/office/officeart/2005/8/layout/process2"/>
    <dgm:cxn modelId="{3CC918B4-42E4-4035-A2F1-8C73846067D6}" type="presOf" srcId="{D4239A19-979C-498B-869D-2AE9D15E6F87}" destId="{0E44B740-1B9E-4CB8-B767-3B32F9547718}" srcOrd="0" destOrd="0" presId="urn:microsoft.com/office/officeart/2005/8/layout/process2"/>
    <dgm:cxn modelId="{6F4DAA84-1607-460B-8E49-1A054343F16E}" type="presOf" srcId="{90BB5E9F-040A-4A3B-8ED8-8871ABE24A79}" destId="{394AB1A3-AFC2-4DC1-9DFF-F05E98A7FA42}" srcOrd="1" destOrd="0" presId="urn:microsoft.com/office/officeart/2005/8/layout/process2"/>
    <dgm:cxn modelId="{D5DECA03-F727-4257-85E8-B2CBE9595587}" type="presOf" srcId="{C2BA5F46-E46D-4E07-9173-FD920DA6145B}" destId="{1727E6B8-9E97-482E-AA35-379A7E9B043E}" srcOrd="1" destOrd="0" presId="urn:microsoft.com/office/officeart/2005/8/layout/process2"/>
    <dgm:cxn modelId="{D4C3FFAF-6F3C-4DAE-9292-1B35FB8D9013}" type="presOf" srcId="{52EB73AF-5361-4FB8-A095-436681B6C5F2}" destId="{E7FA99CD-830F-4D4A-AABF-1415925CE9DB}" srcOrd="0" destOrd="0" presId="urn:microsoft.com/office/officeart/2005/8/layout/process2"/>
    <dgm:cxn modelId="{B8DA466B-05A3-4E85-AAEA-BDCA2B9237C6}" type="presParOf" srcId="{4BD8B572-E686-4045-A274-CBB8286508B2}" destId="{0E44B740-1B9E-4CB8-B767-3B32F9547718}" srcOrd="0" destOrd="0" presId="urn:microsoft.com/office/officeart/2005/8/layout/process2"/>
    <dgm:cxn modelId="{D5B10468-328C-41A8-B323-0803181C93FC}" type="presParOf" srcId="{4BD8B572-E686-4045-A274-CBB8286508B2}" destId="{7A24FD23-61FA-41E6-BA99-3B239E60B8EB}" srcOrd="1" destOrd="0" presId="urn:microsoft.com/office/officeart/2005/8/layout/process2"/>
    <dgm:cxn modelId="{07C62C55-7D7C-46B8-AEE6-586BE4695226}" type="presParOf" srcId="{7A24FD23-61FA-41E6-BA99-3B239E60B8EB}" destId="{8E06E9A0-77CC-4E39-A66D-BB6805685496}" srcOrd="0" destOrd="0" presId="urn:microsoft.com/office/officeart/2005/8/layout/process2"/>
    <dgm:cxn modelId="{335E687F-9323-4C71-8AD2-E2A92705E4EC}" type="presParOf" srcId="{4BD8B572-E686-4045-A274-CBB8286508B2}" destId="{C48A6D12-74DF-41B0-8298-8697FB4162C5}" srcOrd="2" destOrd="0" presId="urn:microsoft.com/office/officeart/2005/8/layout/process2"/>
    <dgm:cxn modelId="{828C3342-5DB6-40F9-BC3F-4A18D2AD60A4}" type="presParOf" srcId="{4BD8B572-E686-4045-A274-CBB8286508B2}" destId="{E7FA99CD-830F-4D4A-AABF-1415925CE9DB}" srcOrd="3" destOrd="0" presId="urn:microsoft.com/office/officeart/2005/8/layout/process2"/>
    <dgm:cxn modelId="{412CE239-5125-43F7-98A6-8D5A436A23C5}" type="presParOf" srcId="{E7FA99CD-830F-4D4A-AABF-1415925CE9DB}" destId="{9018E4B0-2DB0-40A8-8D99-A49D96BFB9FA}" srcOrd="0" destOrd="0" presId="urn:microsoft.com/office/officeart/2005/8/layout/process2"/>
    <dgm:cxn modelId="{4F611E7E-921A-47F0-B58A-8EABEF2D632B}" type="presParOf" srcId="{4BD8B572-E686-4045-A274-CBB8286508B2}" destId="{F5F9203A-BBB7-47F5-9EBA-437EDC0EF45F}" srcOrd="4" destOrd="0" presId="urn:microsoft.com/office/officeart/2005/8/layout/process2"/>
    <dgm:cxn modelId="{2A2EDEB8-48A5-4E67-9E04-9597EEB18886}" type="presParOf" srcId="{4BD8B572-E686-4045-A274-CBB8286508B2}" destId="{3A830B4C-5B8A-484E-AD71-9ACA671B1CBC}" srcOrd="5" destOrd="0" presId="urn:microsoft.com/office/officeart/2005/8/layout/process2"/>
    <dgm:cxn modelId="{E969CFA2-51E8-4970-A4FE-E7343BF4C515}" type="presParOf" srcId="{3A830B4C-5B8A-484E-AD71-9ACA671B1CBC}" destId="{394AB1A3-AFC2-4DC1-9DFF-F05E98A7FA42}" srcOrd="0" destOrd="0" presId="urn:microsoft.com/office/officeart/2005/8/layout/process2"/>
    <dgm:cxn modelId="{1F46C7F8-FF9E-4C5D-B748-04BF1BB08B23}" type="presParOf" srcId="{4BD8B572-E686-4045-A274-CBB8286508B2}" destId="{584DF5FE-1B17-4546-9398-683EDF1402AF}" srcOrd="6" destOrd="0" presId="urn:microsoft.com/office/officeart/2005/8/layout/process2"/>
    <dgm:cxn modelId="{54FE2ED8-E5C6-4B8F-8B1F-00C87F64E2C5}" type="presParOf" srcId="{4BD8B572-E686-4045-A274-CBB8286508B2}" destId="{0D606088-EF79-49D9-96A8-C7CCA3318634}" srcOrd="7" destOrd="0" presId="urn:microsoft.com/office/officeart/2005/8/layout/process2"/>
    <dgm:cxn modelId="{56DDFCE0-61C8-4237-9B84-7258774013C1}" type="presParOf" srcId="{0D606088-EF79-49D9-96A8-C7CCA3318634}" destId="{1727E6B8-9E97-482E-AA35-379A7E9B043E}" srcOrd="0" destOrd="0" presId="urn:microsoft.com/office/officeart/2005/8/layout/process2"/>
    <dgm:cxn modelId="{FA65EA1B-4C0F-41BC-9811-D7D229F6F9B8}" type="presParOf" srcId="{4BD8B572-E686-4045-A274-CBB8286508B2}" destId="{F3DCC770-3F4E-4968-A0C7-91F43B39F43C}" srcOrd="8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44B740-1B9E-4CB8-B767-3B32F9547718}">
      <dsp:nvSpPr>
        <dsp:cNvPr id="0" name=""/>
        <dsp:cNvSpPr/>
      </dsp:nvSpPr>
      <dsp:spPr>
        <a:xfrm>
          <a:off x="334512" y="1691"/>
          <a:ext cx="1923263" cy="501278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lumMod val="110000"/>
                <a:satMod val="105000"/>
                <a:tint val="67000"/>
              </a:schemeClr>
            </a:gs>
            <a:gs pos="50000">
              <a:schemeClr val="accent1">
                <a:lumMod val="105000"/>
                <a:satMod val="103000"/>
                <a:tint val="73000"/>
              </a:schemeClr>
            </a:gs>
            <a:gs pos="100000">
              <a:schemeClr val="accent1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/>
            <a:t>Planung</a:t>
          </a:r>
          <a:endParaRPr lang="de-DE" sz="1200" b="1" kern="1200" dirty="0"/>
        </a:p>
      </dsp:txBody>
      <dsp:txXfrm>
        <a:off x="349194" y="16373"/>
        <a:ext cx="1893899" cy="471914"/>
      </dsp:txXfrm>
    </dsp:sp>
    <dsp:sp modelId="{7A24FD23-61FA-41E6-BA99-3B239E60B8EB}">
      <dsp:nvSpPr>
        <dsp:cNvPr id="0" name=""/>
        <dsp:cNvSpPr/>
      </dsp:nvSpPr>
      <dsp:spPr>
        <a:xfrm rot="5400000">
          <a:off x="1202154" y="515501"/>
          <a:ext cx="187979" cy="22557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900" b="1" kern="1200"/>
        </a:p>
      </dsp:txBody>
      <dsp:txXfrm rot="-5400000">
        <a:off x="1228471" y="534299"/>
        <a:ext cx="135345" cy="131585"/>
      </dsp:txXfrm>
    </dsp:sp>
    <dsp:sp modelId="{CCE1CCA9-499E-45B0-B7B7-8681B644818C}">
      <dsp:nvSpPr>
        <dsp:cNvPr id="0" name=""/>
        <dsp:cNvSpPr/>
      </dsp:nvSpPr>
      <dsp:spPr>
        <a:xfrm>
          <a:off x="334512" y="753609"/>
          <a:ext cx="1923263" cy="501278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lumMod val="110000"/>
                <a:satMod val="105000"/>
                <a:tint val="67000"/>
              </a:schemeClr>
            </a:gs>
            <a:gs pos="50000">
              <a:schemeClr val="accent1">
                <a:lumMod val="105000"/>
                <a:satMod val="103000"/>
                <a:tint val="73000"/>
              </a:schemeClr>
            </a:gs>
            <a:gs pos="100000">
              <a:schemeClr val="accent1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/>
            <a:t>Definition</a:t>
          </a:r>
          <a:endParaRPr lang="de-DE" sz="1200" b="1" kern="1200" dirty="0"/>
        </a:p>
      </dsp:txBody>
      <dsp:txXfrm>
        <a:off x="349194" y="768291"/>
        <a:ext cx="1893899" cy="471914"/>
      </dsp:txXfrm>
    </dsp:sp>
    <dsp:sp modelId="{EAB3788D-76C9-459B-B523-9C08E8A49FF5}">
      <dsp:nvSpPr>
        <dsp:cNvPr id="0" name=""/>
        <dsp:cNvSpPr/>
      </dsp:nvSpPr>
      <dsp:spPr>
        <a:xfrm rot="5400000">
          <a:off x="1202154" y="1267419"/>
          <a:ext cx="187979" cy="22557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900" b="1" kern="1200"/>
        </a:p>
      </dsp:txBody>
      <dsp:txXfrm rot="-5400000">
        <a:off x="1228471" y="1286217"/>
        <a:ext cx="135345" cy="131585"/>
      </dsp:txXfrm>
    </dsp:sp>
    <dsp:sp modelId="{C48A6D12-74DF-41B0-8298-8697FB4162C5}">
      <dsp:nvSpPr>
        <dsp:cNvPr id="0" name=""/>
        <dsp:cNvSpPr/>
      </dsp:nvSpPr>
      <dsp:spPr>
        <a:xfrm>
          <a:off x="334512" y="1505526"/>
          <a:ext cx="1923263" cy="501278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/>
            <a:t>Entwurf</a:t>
          </a:r>
          <a:endParaRPr lang="de-DE" sz="1200" b="1" kern="1200" dirty="0"/>
        </a:p>
      </dsp:txBody>
      <dsp:txXfrm>
        <a:off x="349194" y="1520208"/>
        <a:ext cx="1893899" cy="471914"/>
      </dsp:txXfrm>
    </dsp:sp>
    <dsp:sp modelId="{E7FA99CD-830F-4D4A-AABF-1415925CE9DB}">
      <dsp:nvSpPr>
        <dsp:cNvPr id="0" name=""/>
        <dsp:cNvSpPr/>
      </dsp:nvSpPr>
      <dsp:spPr>
        <a:xfrm rot="5400000">
          <a:off x="1202154" y="2019336"/>
          <a:ext cx="187979" cy="22557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900" b="1" kern="1200"/>
        </a:p>
      </dsp:txBody>
      <dsp:txXfrm rot="-5400000">
        <a:off x="1228471" y="2038134"/>
        <a:ext cx="135345" cy="131585"/>
      </dsp:txXfrm>
    </dsp:sp>
    <dsp:sp modelId="{F5F9203A-BBB7-47F5-9EBA-437EDC0EF45F}">
      <dsp:nvSpPr>
        <dsp:cNvPr id="0" name=""/>
        <dsp:cNvSpPr/>
      </dsp:nvSpPr>
      <dsp:spPr>
        <a:xfrm>
          <a:off x="334512" y="2257443"/>
          <a:ext cx="1923263" cy="501278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6">
                <a:lumMod val="110000"/>
                <a:satMod val="105000"/>
                <a:tint val="67000"/>
              </a:schemeClr>
            </a:gs>
            <a:gs pos="50000">
              <a:schemeClr val="accent6">
                <a:lumMod val="105000"/>
                <a:satMod val="103000"/>
                <a:tint val="73000"/>
              </a:schemeClr>
            </a:gs>
            <a:gs pos="100000">
              <a:schemeClr val="accent6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/>
            <a:t>Implementierung</a:t>
          </a:r>
          <a:endParaRPr lang="de-DE" sz="1200" b="1" kern="1200" dirty="0"/>
        </a:p>
      </dsp:txBody>
      <dsp:txXfrm>
        <a:off x="349194" y="2272125"/>
        <a:ext cx="1893899" cy="471914"/>
      </dsp:txXfrm>
    </dsp:sp>
    <dsp:sp modelId="{3A830B4C-5B8A-484E-AD71-9ACA671B1CBC}">
      <dsp:nvSpPr>
        <dsp:cNvPr id="0" name=""/>
        <dsp:cNvSpPr/>
      </dsp:nvSpPr>
      <dsp:spPr>
        <a:xfrm rot="5400000">
          <a:off x="1202154" y="2771253"/>
          <a:ext cx="187979" cy="22557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900" b="1" kern="1200"/>
        </a:p>
      </dsp:txBody>
      <dsp:txXfrm rot="-5400000">
        <a:off x="1228471" y="2790051"/>
        <a:ext cx="135345" cy="131585"/>
      </dsp:txXfrm>
    </dsp:sp>
    <dsp:sp modelId="{584DF5FE-1B17-4546-9398-683EDF1402AF}">
      <dsp:nvSpPr>
        <dsp:cNvPr id="0" name=""/>
        <dsp:cNvSpPr/>
      </dsp:nvSpPr>
      <dsp:spPr>
        <a:xfrm>
          <a:off x="334512" y="3009360"/>
          <a:ext cx="1923263" cy="501278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6">
                <a:lumMod val="110000"/>
                <a:satMod val="105000"/>
                <a:tint val="67000"/>
              </a:schemeClr>
            </a:gs>
            <a:gs pos="50000">
              <a:schemeClr val="accent6">
                <a:lumMod val="105000"/>
                <a:satMod val="103000"/>
                <a:tint val="73000"/>
              </a:schemeClr>
            </a:gs>
            <a:gs pos="100000">
              <a:schemeClr val="accent6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/>
            <a:t>Test</a:t>
          </a:r>
          <a:endParaRPr lang="de-DE" sz="1200" b="1" kern="1200" dirty="0"/>
        </a:p>
      </dsp:txBody>
      <dsp:txXfrm>
        <a:off x="349194" y="3024042"/>
        <a:ext cx="1893899" cy="471914"/>
      </dsp:txXfrm>
    </dsp:sp>
    <dsp:sp modelId="{0D606088-EF79-49D9-96A8-C7CCA3318634}">
      <dsp:nvSpPr>
        <dsp:cNvPr id="0" name=""/>
        <dsp:cNvSpPr/>
      </dsp:nvSpPr>
      <dsp:spPr>
        <a:xfrm rot="5400000">
          <a:off x="1202154" y="3523170"/>
          <a:ext cx="187979" cy="22557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900" b="1" kern="1200"/>
        </a:p>
      </dsp:txBody>
      <dsp:txXfrm rot="-5400000">
        <a:off x="1228471" y="3541968"/>
        <a:ext cx="135345" cy="131585"/>
      </dsp:txXfrm>
    </dsp:sp>
    <dsp:sp modelId="{F3DCC770-3F4E-4968-A0C7-91F43B39F43C}">
      <dsp:nvSpPr>
        <dsp:cNvPr id="0" name=""/>
        <dsp:cNvSpPr/>
      </dsp:nvSpPr>
      <dsp:spPr>
        <a:xfrm>
          <a:off x="334512" y="3761278"/>
          <a:ext cx="1923263" cy="501278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/>
            <a:t>Inbetriebnahme/Wartung</a:t>
          </a:r>
          <a:endParaRPr lang="de-DE" sz="1200" b="1" kern="1200" dirty="0"/>
        </a:p>
      </dsp:txBody>
      <dsp:txXfrm>
        <a:off x="349194" y="3775960"/>
        <a:ext cx="1893899" cy="47191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44B740-1B9E-4CB8-B767-3B32F9547718}">
      <dsp:nvSpPr>
        <dsp:cNvPr id="0" name=""/>
        <dsp:cNvSpPr/>
      </dsp:nvSpPr>
      <dsp:spPr>
        <a:xfrm>
          <a:off x="101637" y="520"/>
          <a:ext cx="2389013" cy="6090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lumMod val="110000"/>
                <a:satMod val="105000"/>
                <a:tint val="67000"/>
              </a:schemeClr>
            </a:gs>
            <a:gs pos="50000">
              <a:schemeClr val="accent1">
                <a:lumMod val="105000"/>
                <a:satMod val="103000"/>
                <a:tint val="73000"/>
              </a:schemeClr>
            </a:gs>
            <a:gs pos="100000">
              <a:schemeClr val="accent1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Anforderungsdefinition</a:t>
          </a:r>
          <a:endParaRPr lang="de-DE" sz="1500" b="1" kern="1200" dirty="0"/>
        </a:p>
      </dsp:txBody>
      <dsp:txXfrm>
        <a:off x="119475" y="18358"/>
        <a:ext cx="2353337" cy="573353"/>
      </dsp:txXfrm>
    </dsp:sp>
    <dsp:sp modelId="{7A24FD23-61FA-41E6-BA99-3B239E60B8EB}">
      <dsp:nvSpPr>
        <dsp:cNvPr id="0" name=""/>
        <dsp:cNvSpPr/>
      </dsp:nvSpPr>
      <dsp:spPr>
        <a:xfrm rot="5400000">
          <a:off x="1181950" y="624775"/>
          <a:ext cx="228386" cy="27406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/>
        </a:p>
      </dsp:txBody>
      <dsp:txXfrm rot="-5400000">
        <a:off x="1213925" y="647613"/>
        <a:ext cx="164437" cy="159870"/>
      </dsp:txXfrm>
    </dsp:sp>
    <dsp:sp modelId="{C48A6D12-74DF-41B0-8298-8697FB4162C5}">
      <dsp:nvSpPr>
        <dsp:cNvPr id="0" name=""/>
        <dsp:cNvSpPr/>
      </dsp:nvSpPr>
      <dsp:spPr>
        <a:xfrm>
          <a:off x="101637" y="914064"/>
          <a:ext cx="2389013" cy="6090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Entwurf</a:t>
          </a:r>
          <a:endParaRPr lang="de-DE" sz="1500" b="1" kern="1200" dirty="0"/>
        </a:p>
      </dsp:txBody>
      <dsp:txXfrm>
        <a:off x="119475" y="931902"/>
        <a:ext cx="2353337" cy="573353"/>
      </dsp:txXfrm>
    </dsp:sp>
    <dsp:sp modelId="{E7FA99CD-830F-4D4A-AABF-1415925CE9DB}">
      <dsp:nvSpPr>
        <dsp:cNvPr id="0" name=""/>
        <dsp:cNvSpPr/>
      </dsp:nvSpPr>
      <dsp:spPr>
        <a:xfrm rot="5400000">
          <a:off x="1181950" y="1538320"/>
          <a:ext cx="228386" cy="27406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/>
        </a:p>
      </dsp:txBody>
      <dsp:txXfrm rot="-5400000">
        <a:off x="1213925" y="1561158"/>
        <a:ext cx="164437" cy="159870"/>
      </dsp:txXfrm>
    </dsp:sp>
    <dsp:sp modelId="{F5F9203A-BBB7-47F5-9EBA-437EDC0EF45F}">
      <dsp:nvSpPr>
        <dsp:cNvPr id="0" name=""/>
        <dsp:cNvSpPr/>
      </dsp:nvSpPr>
      <dsp:spPr>
        <a:xfrm>
          <a:off x="101637" y="1827609"/>
          <a:ext cx="2389013" cy="6090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6">
                <a:lumMod val="110000"/>
                <a:satMod val="105000"/>
                <a:tint val="67000"/>
              </a:schemeClr>
            </a:gs>
            <a:gs pos="50000">
              <a:schemeClr val="accent6">
                <a:lumMod val="105000"/>
                <a:satMod val="103000"/>
                <a:tint val="73000"/>
              </a:schemeClr>
            </a:gs>
            <a:gs pos="100000">
              <a:schemeClr val="accent6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Implementierung</a:t>
          </a:r>
          <a:endParaRPr lang="de-DE" sz="1500" b="1" kern="1200" dirty="0"/>
        </a:p>
      </dsp:txBody>
      <dsp:txXfrm>
        <a:off x="119475" y="1845447"/>
        <a:ext cx="2353337" cy="573353"/>
      </dsp:txXfrm>
    </dsp:sp>
    <dsp:sp modelId="{3A830B4C-5B8A-484E-AD71-9ACA671B1CBC}">
      <dsp:nvSpPr>
        <dsp:cNvPr id="0" name=""/>
        <dsp:cNvSpPr/>
      </dsp:nvSpPr>
      <dsp:spPr>
        <a:xfrm rot="5400000">
          <a:off x="1181950" y="2451864"/>
          <a:ext cx="228386" cy="27406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/>
        </a:p>
      </dsp:txBody>
      <dsp:txXfrm rot="-5400000">
        <a:off x="1213925" y="2474702"/>
        <a:ext cx="164437" cy="159870"/>
      </dsp:txXfrm>
    </dsp:sp>
    <dsp:sp modelId="{584DF5FE-1B17-4546-9398-683EDF1402AF}">
      <dsp:nvSpPr>
        <dsp:cNvPr id="0" name=""/>
        <dsp:cNvSpPr/>
      </dsp:nvSpPr>
      <dsp:spPr>
        <a:xfrm>
          <a:off x="101637" y="2741153"/>
          <a:ext cx="2389013" cy="6090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6">
                <a:lumMod val="110000"/>
                <a:satMod val="105000"/>
                <a:tint val="67000"/>
              </a:schemeClr>
            </a:gs>
            <a:gs pos="50000">
              <a:schemeClr val="accent6">
                <a:lumMod val="105000"/>
                <a:satMod val="103000"/>
                <a:tint val="73000"/>
              </a:schemeClr>
            </a:gs>
            <a:gs pos="100000">
              <a:schemeClr val="accent6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Test</a:t>
          </a:r>
          <a:endParaRPr lang="de-DE" sz="1500" b="1" kern="1200" dirty="0"/>
        </a:p>
      </dsp:txBody>
      <dsp:txXfrm>
        <a:off x="119475" y="2758991"/>
        <a:ext cx="2353337" cy="573353"/>
      </dsp:txXfrm>
    </dsp:sp>
    <dsp:sp modelId="{0D606088-EF79-49D9-96A8-C7CCA3318634}">
      <dsp:nvSpPr>
        <dsp:cNvPr id="0" name=""/>
        <dsp:cNvSpPr/>
      </dsp:nvSpPr>
      <dsp:spPr>
        <a:xfrm rot="5400000">
          <a:off x="1181950" y="3365408"/>
          <a:ext cx="228386" cy="27406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/>
        </a:p>
      </dsp:txBody>
      <dsp:txXfrm rot="-5400000">
        <a:off x="1213925" y="3388246"/>
        <a:ext cx="164437" cy="159870"/>
      </dsp:txXfrm>
    </dsp:sp>
    <dsp:sp modelId="{F3DCC770-3F4E-4968-A0C7-91F43B39F43C}">
      <dsp:nvSpPr>
        <dsp:cNvPr id="0" name=""/>
        <dsp:cNvSpPr/>
      </dsp:nvSpPr>
      <dsp:spPr>
        <a:xfrm>
          <a:off x="101637" y="3654697"/>
          <a:ext cx="2389013" cy="6090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Inbetriebnahme/Wartung</a:t>
          </a:r>
          <a:endParaRPr lang="de-DE" sz="1500" b="1" kern="1200" dirty="0"/>
        </a:p>
      </dsp:txBody>
      <dsp:txXfrm>
        <a:off x="119475" y="3672535"/>
        <a:ext cx="2353337" cy="57335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44B740-1B9E-4CB8-B767-3B32F9547718}">
      <dsp:nvSpPr>
        <dsp:cNvPr id="0" name=""/>
        <dsp:cNvSpPr/>
      </dsp:nvSpPr>
      <dsp:spPr>
        <a:xfrm>
          <a:off x="101637" y="520"/>
          <a:ext cx="2389013" cy="6090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lumMod val="110000"/>
                <a:satMod val="105000"/>
                <a:tint val="67000"/>
              </a:schemeClr>
            </a:gs>
            <a:gs pos="50000">
              <a:schemeClr val="accent1">
                <a:lumMod val="105000"/>
                <a:satMod val="103000"/>
                <a:tint val="73000"/>
              </a:schemeClr>
            </a:gs>
            <a:gs pos="100000">
              <a:schemeClr val="accent1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Anforderungsdefinition</a:t>
          </a:r>
          <a:endParaRPr lang="de-DE" sz="1500" b="1" kern="1200" dirty="0"/>
        </a:p>
      </dsp:txBody>
      <dsp:txXfrm>
        <a:off x="119475" y="18358"/>
        <a:ext cx="2353337" cy="573353"/>
      </dsp:txXfrm>
    </dsp:sp>
    <dsp:sp modelId="{7A24FD23-61FA-41E6-BA99-3B239E60B8EB}">
      <dsp:nvSpPr>
        <dsp:cNvPr id="0" name=""/>
        <dsp:cNvSpPr/>
      </dsp:nvSpPr>
      <dsp:spPr>
        <a:xfrm rot="5400000">
          <a:off x="1181950" y="624775"/>
          <a:ext cx="228386" cy="27406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/>
        </a:p>
      </dsp:txBody>
      <dsp:txXfrm rot="-5400000">
        <a:off x="1213925" y="647613"/>
        <a:ext cx="164437" cy="159870"/>
      </dsp:txXfrm>
    </dsp:sp>
    <dsp:sp modelId="{C48A6D12-74DF-41B0-8298-8697FB4162C5}">
      <dsp:nvSpPr>
        <dsp:cNvPr id="0" name=""/>
        <dsp:cNvSpPr/>
      </dsp:nvSpPr>
      <dsp:spPr>
        <a:xfrm>
          <a:off x="101637" y="914064"/>
          <a:ext cx="2389013" cy="6090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Entwurf</a:t>
          </a:r>
          <a:endParaRPr lang="de-DE" sz="1500" b="1" kern="1200" dirty="0"/>
        </a:p>
      </dsp:txBody>
      <dsp:txXfrm>
        <a:off x="119475" y="931902"/>
        <a:ext cx="2353337" cy="573353"/>
      </dsp:txXfrm>
    </dsp:sp>
    <dsp:sp modelId="{E7FA99CD-830F-4D4A-AABF-1415925CE9DB}">
      <dsp:nvSpPr>
        <dsp:cNvPr id="0" name=""/>
        <dsp:cNvSpPr/>
      </dsp:nvSpPr>
      <dsp:spPr>
        <a:xfrm rot="5400000">
          <a:off x="1181950" y="1538320"/>
          <a:ext cx="228386" cy="27406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/>
        </a:p>
      </dsp:txBody>
      <dsp:txXfrm rot="-5400000">
        <a:off x="1213925" y="1561158"/>
        <a:ext cx="164437" cy="159870"/>
      </dsp:txXfrm>
    </dsp:sp>
    <dsp:sp modelId="{F5F9203A-BBB7-47F5-9EBA-437EDC0EF45F}">
      <dsp:nvSpPr>
        <dsp:cNvPr id="0" name=""/>
        <dsp:cNvSpPr/>
      </dsp:nvSpPr>
      <dsp:spPr>
        <a:xfrm>
          <a:off x="101637" y="1827609"/>
          <a:ext cx="2389013" cy="6090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6">
                <a:lumMod val="110000"/>
                <a:satMod val="105000"/>
                <a:tint val="67000"/>
              </a:schemeClr>
            </a:gs>
            <a:gs pos="50000">
              <a:schemeClr val="accent6">
                <a:lumMod val="105000"/>
                <a:satMod val="103000"/>
                <a:tint val="73000"/>
              </a:schemeClr>
            </a:gs>
            <a:gs pos="100000">
              <a:schemeClr val="accent6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Implementierung</a:t>
          </a:r>
          <a:endParaRPr lang="de-DE" sz="1500" b="1" kern="1200" dirty="0"/>
        </a:p>
      </dsp:txBody>
      <dsp:txXfrm>
        <a:off x="119475" y="1845447"/>
        <a:ext cx="2353337" cy="573353"/>
      </dsp:txXfrm>
    </dsp:sp>
    <dsp:sp modelId="{3A830B4C-5B8A-484E-AD71-9ACA671B1CBC}">
      <dsp:nvSpPr>
        <dsp:cNvPr id="0" name=""/>
        <dsp:cNvSpPr/>
      </dsp:nvSpPr>
      <dsp:spPr>
        <a:xfrm rot="5400000">
          <a:off x="1181950" y="2451864"/>
          <a:ext cx="228386" cy="27406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/>
        </a:p>
      </dsp:txBody>
      <dsp:txXfrm rot="-5400000">
        <a:off x="1213925" y="2474702"/>
        <a:ext cx="164437" cy="159870"/>
      </dsp:txXfrm>
    </dsp:sp>
    <dsp:sp modelId="{584DF5FE-1B17-4546-9398-683EDF1402AF}">
      <dsp:nvSpPr>
        <dsp:cNvPr id="0" name=""/>
        <dsp:cNvSpPr/>
      </dsp:nvSpPr>
      <dsp:spPr>
        <a:xfrm>
          <a:off x="101637" y="2741153"/>
          <a:ext cx="2389013" cy="6090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6">
                <a:lumMod val="110000"/>
                <a:satMod val="105000"/>
                <a:tint val="67000"/>
              </a:schemeClr>
            </a:gs>
            <a:gs pos="50000">
              <a:schemeClr val="accent6">
                <a:lumMod val="105000"/>
                <a:satMod val="103000"/>
                <a:tint val="73000"/>
              </a:schemeClr>
            </a:gs>
            <a:gs pos="100000">
              <a:schemeClr val="accent6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Test</a:t>
          </a:r>
          <a:endParaRPr lang="de-DE" sz="1500" b="1" kern="1200" dirty="0"/>
        </a:p>
      </dsp:txBody>
      <dsp:txXfrm>
        <a:off x="119475" y="2758991"/>
        <a:ext cx="2353337" cy="573353"/>
      </dsp:txXfrm>
    </dsp:sp>
    <dsp:sp modelId="{0D606088-EF79-49D9-96A8-C7CCA3318634}">
      <dsp:nvSpPr>
        <dsp:cNvPr id="0" name=""/>
        <dsp:cNvSpPr/>
      </dsp:nvSpPr>
      <dsp:spPr>
        <a:xfrm rot="5400000">
          <a:off x="1181950" y="3365408"/>
          <a:ext cx="228386" cy="27406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/>
        </a:p>
      </dsp:txBody>
      <dsp:txXfrm rot="-5400000">
        <a:off x="1213925" y="3388246"/>
        <a:ext cx="164437" cy="159870"/>
      </dsp:txXfrm>
    </dsp:sp>
    <dsp:sp modelId="{F3DCC770-3F4E-4968-A0C7-91F43B39F43C}">
      <dsp:nvSpPr>
        <dsp:cNvPr id="0" name=""/>
        <dsp:cNvSpPr/>
      </dsp:nvSpPr>
      <dsp:spPr>
        <a:xfrm>
          <a:off x="101637" y="3654697"/>
          <a:ext cx="2389013" cy="6090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Inbetriebnahme/Wartung</a:t>
          </a:r>
          <a:endParaRPr lang="de-DE" sz="1500" b="1" kern="1200" dirty="0"/>
        </a:p>
      </dsp:txBody>
      <dsp:txXfrm>
        <a:off x="119475" y="3672535"/>
        <a:ext cx="2353337" cy="57335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44B740-1B9E-4CB8-B767-3B32F9547718}">
      <dsp:nvSpPr>
        <dsp:cNvPr id="0" name=""/>
        <dsp:cNvSpPr/>
      </dsp:nvSpPr>
      <dsp:spPr>
        <a:xfrm>
          <a:off x="101637" y="520"/>
          <a:ext cx="2389013" cy="6090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lumMod val="110000"/>
                <a:satMod val="105000"/>
                <a:tint val="67000"/>
              </a:schemeClr>
            </a:gs>
            <a:gs pos="50000">
              <a:schemeClr val="accent1">
                <a:lumMod val="105000"/>
                <a:satMod val="103000"/>
                <a:tint val="73000"/>
              </a:schemeClr>
            </a:gs>
            <a:gs pos="100000">
              <a:schemeClr val="accent1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Anforderungsdefinition</a:t>
          </a:r>
          <a:endParaRPr lang="de-DE" sz="1500" b="1" kern="1200" dirty="0"/>
        </a:p>
      </dsp:txBody>
      <dsp:txXfrm>
        <a:off x="119475" y="18358"/>
        <a:ext cx="2353337" cy="573353"/>
      </dsp:txXfrm>
    </dsp:sp>
    <dsp:sp modelId="{7A24FD23-61FA-41E6-BA99-3B239E60B8EB}">
      <dsp:nvSpPr>
        <dsp:cNvPr id="0" name=""/>
        <dsp:cNvSpPr/>
      </dsp:nvSpPr>
      <dsp:spPr>
        <a:xfrm rot="5400000">
          <a:off x="1181950" y="624775"/>
          <a:ext cx="228386" cy="27406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/>
        </a:p>
      </dsp:txBody>
      <dsp:txXfrm rot="-5400000">
        <a:off x="1213925" y="647613"/>
        <a:ext cx="164437" cy="159870"/>
      </dsp:txXfrm>
    </dsp:sp>
    <dsp:sp modelId="{C48A6D12-74DF-41B0-8298-8697FB4162C5}">
      <dsp:nvSpPr>
        <dsp:cNvPr id="0" name=""/>
        <dsp:cNvSpPr/>
      </dsp:nvSpPr>
      <dsp:spPr>
        <a:xfrm>
          <a:off x="101637" y="914064"/>
          <a:ext cx="2389013" cy="6090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Entwurf</a:t>
          </a:r>
          <a:endParaRPr lang="de-DE" sz="1500" b="1" kern="1200" dirty="0"/>
        </a:p>
      </dsp:txBody>
      <dsp:txXfrm>
        <a:off x="119475" y="931902"/>
        <a:ext cx="2353337" cy="573353"/>
      </dsp:txXfrm>
    </dsp:sp>
    <dsp:sp modelId="{E7FA99CD-830F-4D4A-AABF-1415925CE9DB}">
      <dsp:nvSpPr>
        <dsp:cNvPr id="0" name=""/>
        <dsp:cNvSpPr/>
      </dsp:nvSpPr>
      <dsp:spPr>
        <a:xfrm rot="5400000">
          <a:off x="1181950" y="1538320"/>
          <a:ext cx="228386" cy="27406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/>
        </a:p>
      </dsp:txBody>
      <dsp:txXfrm rot="-5400000">
        <a:off x="1213925" y="1561158"/>
        <a:ext cx="164437" cy="159870"/>
      </dsp:txXfrm>
    </dsp:sp>
    <dsp:sp modelId="{F5F9203A-BBB7-47F5-9EBA-437EDC0EF45F}">
      <dsp:nvSpPr>
        <dsp:cNvPr id="0" name=""/>
        <dsp:cNvSpPr/>
      </dsp:nvSpPr>
      <dsp:spPr>
        <a:xfrm>
          <a:off x="101637" y="1827609"/>
          <a:ext cx="2389013" cy="6090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6">
                <a:lumMod val="110000"/>
                <a:satMod val="105000"/>
                <a:tint val="67000"/>
              </a:schemeClr>
            </a:gs>
            <a:gs pos="50000">
              <a:schemeClr val="accent6">
                <a:lumMod val="105000"/>
                <a:satMod val="103000"/>
                <a:tint val="73000"/>
              </a:schemeClr>
            </a:gs>
            <a:gs pos="100000">
              <a:schemeClr val="accent6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Implementierung</a:t>
          </a:r>
          <a:endParaRPr lang="de-DE" sz="1500" b="1" kern="1200" dirty="0"/>
        </a:p>
      </dsp:txBody>
      <dsp:txXfrm>
        <a:off x="119475" y="1845447"/>
        <a:ext cx="2353337" cy="573353"/>
      </dsp:txXfrm>
    </dsp:sp>
    <dsp:sp modelId="{3A830B4C-5B8A-484E-AD71-9ACA671B1CBC}">
      <dsp:nvSpPr>
        <dsp:cNvPr id="0" name=""/>
        <dsp:cNvSpPr/>
      </dsp:nvSpPr>
      <dsp:spPr>
        <a:xfrm rot="5400000">
          <a:off x="1181950" y="2451864"/>
          <a:ext cx="228386" cy="27406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/>
        </a:p>
      </dsp:txBody>
      <dsp:txXfrm rot="-5400000">
        <a:off x="1213925" y="2474702"/>
        <a:ext cx="164437" cy="159870"/>
      </dsp:txXfrm>
    </dsp:sp>
    <dsp:sp modelId="{584DF5FE-1B17-4546-9398-683EDF1402AF}">
      <dsp:nvSpPr>
        <dsp:cNvPr id="0" name=""/>
        <dsp:cNvSpPr/>
      </dsp:nvSpPr>
      <dsp:spPr>
        <a:xfrm>
          <a:off x="101637" y="2741153"/>
          <a:ext cx="2389013" cy="6090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6">
                <a:lumMod val="110000"/>
                <a:satMod val="105000"/>
                <a:tint val="67000"/>
              </a:schemeClr>
            </a:gs>
            <a:gs pos="50000">
              <a:schemeClr val="accent6">
                <a:lumMod val="105000"/>
                <a:satMod val="103000"/>
                <a:tint val="73000"/>
              </a:schemeClr>
            </a:gs>
            <a:gs pos="100000">
              <a:schemeClr val="accent6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Test</a:t>
          </a:r>
          <a:endParaRPr lang="de-DE" sz="1500" b="1" kern="1200" dirty="0"/>
        </a:p>
      </dsp:txBody>
      <dsp:txXfrm>
        <a:off x="119475" y="2758991"/>
        <a:ext cx="2353337" cy="573353"/>
      </dsp:txXfrm>
    </dsp:sp>
    <dsp:sp modelId="{0D606088-EF79-49D9-96A8-C7CCA3318634}">
      <dsp:nvSpPr>
        <dsp:cNvPr id="0" name=""/>
        <dsp:cNvSpPr/>
      </dsp:nvSpPr>
      <dsp:spPr>
        <a:xfrm rot="5400000">
          <a:off x="1181950" y="3365408"/>
          <a:ext cx="228386" cy="27406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/>
        </a:p>
      </dsp:txBody>
      <dsp:txXfrm rot="-5400000">
        <a:off x="1213925" y="3388246"/>
        <a:ext cx="164437" cy="159870"/>
      </dsp:txXfrm>
    </dsp:sp>
    <dsp:sp modelId="{F3DCC770-3F4E-4968-A0C7-91F43B39F43C}">
      <dsp:nvSpPr>
        <dsp:cNvPr id="0" name=""/>
        <dsp:cNvSpPr/>
      </dsp:nvSpPr>
      <dsp:spPr>
        <a:xfrm>
          <a:off x="101637" y="3654697"/>
          <a:ext cx="2389013" cy="6090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Inbetriebnahme/Wartung</a:t>
          </a:r>
          <a:endParaRPr lang="de-DE" sz="1500" b="1" kern="1200" dirty="0"/>
        </a:p>
      </dsp:txBody>
      <dsp:txXfrm>
        <a:off x="119475" y="3672535"/>
        <a:ext cx="2353337" cy="573353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44B740-1B9E-4CB8-B767-3B32F9547718}">
      <dsp:nvSpPr>
        <dsp:cNvPr id="0" name=""/>
        <dsp:cNvSpPr/>
      </dsp:nvSpPr>
      <dsp:spPr>
        <a:xfrm>
          <a:off x="101637" y="520"/>
          <a:ext cx="2389013" cy="6090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lumMod val="110000"/>
                <a:satMod val="105000"/>
                <a:tint val="67000"/>
              </a:schemeClr>
            </a:gs>
            <a:gs pos="50000">
              <a:schemeClr val="accent1">
                <a:lumMod val="105000"/>
                <a:satMod val="103000"/>
                <a:tint val="73000"/>
              </a:schemeClr>
            </a:gs>
            <a:gs pos="100000">
              <a:schemeClr val="accent1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Anforderungsdefinition</a:t>
          </a:r>
          <a:endParaRPr lang="de-DE" sz="1500" b="1" kern="1200" dirty="0"/>
        </a:p>
      </dsp:txBody>
      <dsp:txXfrm>
        <a:off x="119475" y="18358"/>
        <a:ext cx="2353337" cy="573353"/>
      </dsp:txXfrm>
    </dsp:sp>
    <dsp:sp modelId="{7A24FD23-61FA-41E6-BA99-3B239E60B8EB}">
      <dsp:nvSpPr>
        <dsp:cNvPr id="0" name=""/>
        <dsp:cNvSpPr/>
      </dsp:nvSpPr>
      <dsp:spPr>
        <a:xfrm rot="5400000">
          <a:off x="1181950" y="624775"/>
          <a:ext cx="228386" cy="27406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/>
        </a:p>
      </dsp:txBody>
      <dsp:txXfrm rot="-5400000">
        <a:off x="1213925" y="647613"/>
        <a:ext cx="164437" cy="159870"/>
      </dsp:txXfrm>
    </dsp:sp>
    <dsp:sp modelId="{C48A6D12-74DF-41B0-8298-8697FB4162C5}">
      <dsp:nvSpPr>
        <dsp:cNvPr id="0" name=""/>
        <dsp:cNvSpPr/>
      </dsp:nvSpPr>
      <dsp:spPr>
        <a:xfrm>
          <a:off x="101637" y="914064"/>
          <a:ext cx="2389013" cy="6090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Entwurf</a:t>
          </a:r>
          <a:endParaRPr lang="de-DE" sz="1500" b="1" kern="1200" dirty="0"/>
        </a:p>
      </dsp:txBody>
      <dsp:txXfrm>
        <a:off x="119475" y="931902"/>
        <a:ext cx="2353337" cy="573353"/>
      </dsp:txXfrm>
    </dsp:sp>
    <dsp:sp modelId="{E7FA99CD-830F-4D4A-AABF-1415925CE9DB}">
      <dsp:nvSpPr>
        <dsp:cNvPr id="0" name=""/>
        <dsp:cNvSpPr/>
      </dsp:nvSpPr>
      <dsp:spPr>
        <a:xfrm rot="5400000">
          <a:off x="1181950" y="1538320"/>
          <a:ext cx="228386" cy="27406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/>
        </a:p>
      </dsp:txBody>
      <dsp:txXfrm rot="-5400000">
        <a:off x="1213925" y="1561158"/>
        <a:ext cx="164437" cy="159870"/>
      </dsp:txXfrm>
    </dsp:sp>
    <dsp:sp modelId="{F5F9203A-BBB7-47F5-9EBA-437EDC0EF45F}">
      <dsp:nvSpPr>
        <dsp:cNvPr id="0" name=""/>
        <dsp:cNvSpPr/>
      </dsp:nvSpPr>
      <dsp:spPr>
        <a:xfrm>
          <a:off x="101637" y="1827609"/>
          <a:ext cx="2389013" cy="6090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6">
                <a:lumMod val="110000"/>
                <a:satMod val="105000"/>
                <a:tint val="67000"/>
              </a:schemeClr>
            </a:gs>
            <a:gs pos="50000">
              <a:schemeClr val="accent6">
                <a:lumMod val="105000"/>
                <a:satMod val="103000"/>
                <a:tint val="73000"/>
              </a:schemeClr>
            </a:gs>
            <a:gs pos="100000">
              <a:schemeClr val="accent6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Implementierung</a:t>
          </a:r>
          <a:endParaRPr lang="de-DE" sz="1500" b="1" kern="1200" dirty="0"/>
        </a:p>
      </dsp:txBody>
      <dsp:txXfrm>
        <a:off x="119475" y="1845447"/>
        <a:ext cx="2353337" cy="573353"/>
      </dsp:txXfrm>
    </dsp:sp>
    <dsp:sp modelId="{3A830B4C-5B8A-484E-AD71-9ACA671B1CBC}">
      <dsp:nvSpPr>
        <dsp:cNvPr id="0" name=""/>
        <dsp:cNvSpPr/>
      </dsp:nvSpPr>
      <dsp:spPr>
        <a:xfrm rot="5400000">
          <a:off x="1181950" y="2451864"/>
          <a:ext cx="228386" cy="27406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/>
        </a:p>
      </dsp:txBody>
      <dsp:txXfrm rot="-5400000">
        <a:off x="1213925" y="2474702"/>
        <a:ext cx="164437" cy="159870"/>
      </dsp:txXfrm>
    </dsp:sp>
    <dsp:sp modelId="{584DF5FE-1B17-4546-9398-683EDF1402AF}">
      <dsp:nvSpPr>
        <dsp:cNvPr id="0" name=""/>
        <dsp:cNvSpPr/>
      </dsp:nvSpPr>
      <dsp:spPr>
        <a:xfrm>
          <a:off x="101637" y="2741153"/>
          <a:ext cx="2389013" cy="6090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6">
                <a:lumMod val="110000"/>
                <a:satMod val="105000"/>
                <a:tint val="67000"/>
              </a:schemeClr>
            </a:gs>
            <a:gs pos="50000">
              <a:schemeClr val="accent6">
                <a:lumMod val="105000"/>
                <a:satMod val="103000"/>
                <a:tint val="73000"/>
              </a:schemeClr>
            </a:gs>
            <a:gs pos="100000">
              <a:schemeClr val="accent6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Test</a:t>
          </a:r>
          <a:endParaRPr lang="de-DE" sz="1500" b="1" kern="1200" dirty="0"/>
        </a:p>
      </dsp:txBody>
      <dsp:txXfrm>
        <a:off x="119475" y="2758991"/>
        <a:ext cx="2353337" cy="573353"/>
      </dsp:txXfrm>
    </dsp:sp>
    <dsp:sp modelId="{0D606088-EF79-49D9-96A8-C7CCA3318634}">
      <dsp:nvSpPr>
        <dsp:cNvPr id="0" name=""/>
        <dsp:cNvSpPr/>
      </dsp:nvSpPr>
      <dsp:spPr>
        <a:xfrm rot="5400000">
          <a:off x="1181950" y="3365408"/>
          <a:ext cx="228386" cy="27406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/>
        </a:p>
      </dsp:txBody>
      <dsp:txXfrm rot="-5400000">
        <a:off x="1213925" y="3388246"/>
        <a:ext cx="164437" cy="159870"/>
      </dsp:txXfrm>
    </dsp:sp>
    <dsp:sp modelId="{F3DCC770-3F4E-4968-A0C7-91F43B39F43C}">
      <dsp:nvSpPr>
        <dsp:cNvPr id="0" name=""/>
        <dsp:cNvSpPr/>
      </dsp:nvSpPr>
      <dsp:spPr>
        <a:xfrm>
          <a:off x="101637" y="3654697"/>
          <a:ext cx="2389013" cy="6090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Inbetriebnahme/Wartung</a:t>
          </a:r>
          <a:endParaRPr lang="de-DE" sz="1500" b="1" kern="1200" dirty="0"/>
        </a:p>
      </dsp:txBody>
      <dsp:txXfrm>
        <a:off x="119475" y="3672535"/>
        <a:ext cx="2353337" cy="573353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44B740-1B9E-4CB8-B767-3B32F9547718}">
      <dsp:nvSpPr>
        <dsp:cNvPr id="0" name=""/>
        <dsp:cNvSpPr/>
      </dsp:nvSpPr>
      <dsp:spPr>
        <a:xfrm>
          <a:off x="101637" y="520"/>
          <a:ext cx="2389013" cy="6090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lumMod val="110000"/>
                <a:satMod val="105000"/>
                <a:tint val="67000"/>
              </a:schemeClr>
            </a:gs>
            <a:gs pos="50000">
              <a:schemeClr val="accent1">
                <a:lumMod val="105000"/>
                <a:satMod val="103000"/>
                <a:tint val="73000"/>
              </a:schemeClr>
            </a:gs>
            <a:gs pos="100000">
              <a:schemeClr val="accent1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Anforderungsdefinition</a:t>
          </a:r>
          <a:endParaRPr lang="de-DE" sz="1500" b="1" kern="1200" dirty="0"/>
        </a:p>
      </dsp:txBody>
      <dsp:txXfrm>
        <a:off x="119475" y="18358"/>
        <a:ext cx="2353337" cy="573353"/>
      </dsp:txXfrm>
    </dsp:sp>
    <dsp:sp modelId="{7A24FD23-61FA-41E6-BA99-3B239E60B8EB}">
      <dsp:nvSpPr>
        <dsp:cNvPr id="0" name=""/>
        <dsp:cNvSpPr/>
      </dsp:nvSpPr>
      <dsp:spPr>
        <a:xfrm rot="5400000">
          <a:off x="1181950" y="624775"/>
          <a:ext cx="228386" cy="27406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/>
        </a:p>
      </dsp:txBody>
      <dsp:txXfrm rot="-5400000">
        <a:off x="1213925" y="647613"/>
        <a:ext cx="164437" cy="159870"/>
      </dsp:txXfrm>
    </dsp:sp>
    <dsp:sp modelId="{C48A6D12-74DF-41B0-8298-8697FB4162C5}">
      <dsp:nvSpPr>
        <dsp:cNvPr id="0" name=""/>
        <dsp:cNvSpPr/>
      </dsp:nvSpPr>
      <dsp:spPr>
        <a:xfrm>
          <a:off x="101637" y="914064"/>
          <a:ext cx="2389013" cy="6090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Entwurf</a:t>
          </a:r>
          <a:endParaRPr lang="de-DE" sz="1500" b="1" kern="1200" dirty="0"/>
        </a:p>
      </dsp:txBody>
      <dsp:txXfrm>
        <a:off x="119475" y="931902"/>
        <a:ext cx="2353337" cy="573353"/>
      </dsp:txXfrm>
    </dsp:sp>
    <dsp:sp modelId="{E7FA99CD-830F-4D4A-AABF-1415925CE9DB}">
      <dsp:nvSpPr>
        <dsp:cNvPr id="0" name=""/>
        <dsp:cNvSpPr/>
      </dsp:nvSpPr>
      <dsp:spPr>
        <a:xfrm rot="5400000">
          <a:off x="1181950" y="1538320"/>
          <a:ext cx="228386" cy="27406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/>
        </a:p>
      </dsp:txBody>
      <dsp:txXfrm rot="-5400000">
        <a:off x="1213925" y="1561158"/>
        <a:ext cx="164437" cy="159870"/>
      </dsp:txXfrm>
    </dsp:sp>
    <dsp:sp modelId="{F5F9203A-BBB7-47F5-9EBA-437EDC0EF45F}">
      <dsp:nvSpPr>
        <dsp:cNvPr id="0" name=""/>
        <dsp:cNvSpPr/>
      </dsp:nvSpPr>
      <dsp:spPr>
        <a:xfrm>
          <a:off x="101637" y="1827609"/>
          <a:ext cx="2389013" cy="6090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6">
                <a:lumMod val="110000"/>
                <a:satMod val="105000"/>
                <a:tint val="67000"/>
              </a:schemeClr>
            </a:gs>
            <a:gs pos="50000">
              <a:schemeClr val="accent6">
                <a:lumMod val="105000"/>
                <a:satMod val="103000"/>
                <a:tint val="73000"/>
              </a:schemeClr>
            </a:gs>
            <a:gs pos="100000">
              <a:schemeClr val="accent6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Implementierung</a:t>
          </a:r>
          <a:endParaRPr lang="de-DE" sz="1500" b="1" kern="1200" dirty="0"/>
        </a:p>
      </dsp:txBody>
      <dsp:txXfrm>
        <a:off x="119475" y="1845447"/>
        <a:ext cx="2353337" cy="573353"/>
      </dsp:txXfrm>
    </dsp:sp>
    <dsp:sp modelId="{3A830B4C-5B8A-484E-AD71-9ACA671B1CBC}">
      <dsp:nvSpPr>
        <dsp:cNvPr id="0" name=""/>
        <dsp:cNvSpPr/>
      </dsp:nvSpPr>
      <dsp:spPr>
        <a:xfrm rot="5400000">
          <a:off x="1181950" y="2451864"/>
          <a:ext cx="228386" cy="27406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/>
        </a:p>
      </dsp:txBody>
      <dsp:txXfrm rot="-5400000">
        <a:off x="1213925" y="2474702"/>
        <a:ext cx="164437" cy="159870"/>
      </dsp:txXfrm>
    </dsp:sp>
    <dsp:sp modelId="{584DF5FE-1B17-4546-9398-683EDF1402AF}">
      <dsp:nvSpPr>
        <dsp:cNvPr id="0" name=""/>
        <dsp:cNvSpPr/>
      </dsp:nvSpPr>
      <dsp:spPr>
        <a:xfrm>
          <a:off x="101637" y="2741153"/>
          <a:ext cx="2389013" cy="6090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6">
                <a:lumMod val="110000"/>
                <a:satMod val="105000"/>
                <a:tint val="67000"/>
              </a:schemeClr>
            </a:gs>
            <a:gs pos="50000">
              <a:schemeClr val="accent6">
                <a:lumMod val="105000"/>
                <a:satMod val="103000"/>
                <a:tint val="73000"/>
              </a:schemeClr>
            </a:gs>
            <a:gs pos="100000">
              <a:schemeClr val="accent6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Test</a:t>
          </a:r>
          <a:endParaRPr lang="de-DE" sz="1500" b="1" kern="1200" dirty="0"/>
        </a:p>
      </dsp:txBody>
      <dsp:txXfrm>
        <a:off x="119475" y="2758991"/>
        <a:ext cx="2353337" cy="573353"/>
      </dsp:txXfrm>
    </dsp:sp>
    <dsp:sp modelId="{0D606088-EF79-49D9-96A8-C7CCA3318634}">
      <dsp:nvSpPr>
        <dsp:cNvPr id="0" name=""/>
        <dsp:cNvSpPr/>
      </dsp:nvSpPr>
      <dsp:spPr>
        <a:xfrm rot="5400000">
          <a:off x="1181950" y="3365408"/>
          <a:ext cx="228386" cy="27406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200" b="1" kern="1200"/>
        </a:p>
      </dsp:txBody>
      <dsp:txXfrm rot="-5400000">
        <a:off x="1213925" y="3388246"/>
        <a:ext cx="164437" cy="159870"/>
      </dsp:txXfrm>
    </dsp:sp>
    <dsp:sp modelId="{F3DCC770-3F4E-4968-A0C7-91F43B39F43C}">
      <dsp:nvSpPr>
        <dsp:cNvPr id="0" name=""/>
        <dsp:cNvSpPr/>
      </dsp:nvSpPr>
      <dsp:spPr>
        <a:xfrm>
          <a:off x="101637" y="3654697"/>
          <a:ext cx="2389013" cy="6090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Inbetriebnahme/Wartung</a:t>
          </a:r>
          <a:endParaRPr lang="de-DE" sz="1500" b="1" kern="1200" dirty="0"/>
        </a:p>
      </dsp:txBody>
      <dsp:txXfrm>
        <a:off x="119475" y="3672535"/>
        <a:ext cx="2353337" cy="57335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7D75FD-ABCC-412E-9C54-E93458F294FF}" type="datetimeFigureOut">
              <a:rPr lang="de-DE" smtClean="0"/>
              <a:pPr/>
              <a:t>03.04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322C1E-BCC7-4AC4-A83A-7E6E9756F5E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75174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1A4C9-73B6-48E8-BC52-41AFB8270F81}" type="datetimeFigureOut">
              <a:rPr lang="de-DE" smtClean="0"/>
              <a:pPr/>
              <a:t>03.04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513B4D-7CAE-40DF-90C5-C3383494DFC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18490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10FB1C-AD68-40D8-9CBE-370BA2AB6D59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42092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70FEBC-0723-472A-8C71-061976D66AA6}" type="slidenum">
              <a:rPr lang="de-DE" smtClean="0"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99586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10FB1C-AD68-40D8-9CBE-370BA2AB6D59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72381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B0503C-7C9C-42C2-BA9D-4F7948EF0739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85757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70FEBC-0723-472A-8C71-061976D66AA6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250053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10FB1C-AD68-40D8-9CBE-370BA2AB6D59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72381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70FEBC-0723-472A-8C71-061976D66AA6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06139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10FB1C-AD68-40D8-9CBE-370BA2AB6D59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72381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70FEBC-0723-472A-8C71-061976D66AA6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74519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513B4D-7CAE-40DF-90C5-C3383494DFC6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73045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70FEBC-0723-472A-8C71-061976D66AA6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45024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513B4D-7CAE-40DF-90C5-C3383494DFC6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85796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513B4D-7CAE-40DF-90C5-C3383494DFC6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9609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70FEBC-0723-472A-8C71-061976D66AA6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38740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0" y="0"/>
            <a:ext cx="9144000" cy="56907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8525" y="1587500"/>
            <a:ext cx="8204781" cy="1231106"/>
          </a:xfrm>
        </p:spPr>
        <p:txBody>
          <a:bodyPr anchor="b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 durch Klicken hinzufüg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0906" y="2904080"/>
            <a:ext cx="8204781" cy="276999"/>
          </a:xfrm>
        </p:spPr>
        <p:txBody>
          <a:bodyPr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470906" y="3266553"/>
            <a:ext cx="8204781" cy="276999"/>
          </a:xfrm>
        </p:spPr>
        <p:txBody>
          <a:bodyPr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sz="quarter" idx="14"/>
          </p:nvPr>
        </p:nvSpPr>
        <p:spPr>
          <a:xfrm>
            <a:off x="470906" y="3629025"/>
            <a:ext cx="8204781" cy="276999"/>
          </a:xfrm>
        </p:spPr>
        <p:txBody>
          <a:bodyPr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1731" y="5851459"/>
            <a:ext cx="1930804" cy="895358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201" y="6583472"/>
            <a:ext cx="1365577" cy="160370"/>
          </a:xfrm>
          <a:prstGeom prst="rect">
            <a:avLst/>
          </a:prstGeom>
        </p:spPr>
      </p:pic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470906" y="6513177"/>
            <a:ext cx="7125430" cy="23066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636605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7772942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63763" y="1772815"/>
            <a:ext cx="8208145" cy="4353347"/>
          </a:xfrm>
        </p:spPr>
        <p:txBody>
          <a:bodyPr>
            <a:noAutofit/>
          </a:bodyPr>
          <a:lstStyle>
            <a:lvl1pPr marL="342900" indent="-342900">
              <a:spcBef>
                <a:spcPts val="1200"/>
              </a:spcBef>
              <a:buFont typeface="+mj-lt"/>
              <a:buAutoNum type="arabicPeriod"/>
              <a:defRPr/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3763" y="476672"/>
            <a:ext cx="6419056" cy="338554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42E5D0-0CAB-4258-8B96-345E12E8F378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7631167"/>
      </p:ext>
    </p:extLst>
  </p:cSld>
  <p:clrMapOvr>
    <a:masterClrMapping/>
  </p:clrMapOvr>
  <p:transition spd="slow">
    <p:wip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0" y="0"/>
            <a:ext cx="9144000" cy="56907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8525" y="1587500"/>
            <a:ext cx="8204781" cy="1231106"/>
          </a:xfrm>
        </p:spPr>
        <p:txBody>
          <a:bodyPr anchor="b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 durch Klicken hinzufüg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0906" y="2904080"/>
            <a:ext cx="8204781" cy="276999"/>
          </a:xfrm>
        </p:spPr>
        <p:txBody>
          <a:bodyPr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470906" y="3266553"/>
            <a:ext cx="8204781" cy="276999"/>
          </a:xfrm>
        </p:spPr>
        <p:txBody>
          <a:bodyPr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sz="quarter" idx="14"/>
          </p:nvPr>
        </p:nvSpPr>
        <p:spPr>
          <a:xfrm>
            <a:off x="470906" y="3629025"/>
            <a:ext cx="8204781" cy="276999"/>
          </a:xfrm>
        </p:spPr>
        <p:txBody>
          <a:bodyPr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1731" y="5851459"/>
            <a:ext cx="1930804" cy="895358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201" y="6583472"/>
            <a:ext cx="1365577" cy="160370"/>
          </a:xfrm>
          <a:prstGeom prst="rect">
            <a:avLst/>
          </a:prstGeom>
        </p:spPr>
      </p:pic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470906" y="6513177"/>
            <a:ext cx="6981414" cy="23066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626759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Inhalt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525" y="1772816"/>
            <a:ext cx="8204781" cy="4353347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70906" y="1135063"/>
            <a:ext cx="8204781" cy="27699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493069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0" y="0"/>
            <a:ext cx="9144000" cy="56907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0906" y="444969"/>
            <a:ext cx="8204781" cy="615553"/>
          </a:xfrm>
        </p:spPr>
        <p:txBody>
          <a:bodyPr anchor="b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0906" y="1103666"/>
            <a:ext cx="8204781" cy="276999"/>
          </a:xfrm>
        </p:spPr>
        <p:txBody>
          <a:bodyPr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470906" y="1423809"/>
            <a:ext cx="8204781" cy="276999"/>
          </a:xfrm>
        </p:spPr>
        <p:txBody>
          <a:bodyPr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sz="quarter" idx="14"/>
          </p:nvPr>
        </p:nvSpPr>
        <p:spPr>
          <a:xfrm>
            <a:off x="470906" y="5024209"/>
            <a:ext cx="8204781" cy="276999"/>
          </a:xfrm>
        </p:spPr>
        <p:txBody>
          <a:bodyPr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1731" y="5851459"/>
            <a:ext cx="1930804" cy="895358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201" y="6583472"/>
            <a:ext cx="1365577" cy="160370"/>
          </a:xfrm>
          <a:prstGeom prst="rect">
            <a:avLst/>
          </a:prstGeom>
        </p:spPr>
      </p:pic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470906" y="6513177"/>
            <a:ext cx="6909406" cy="23066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rgbClr val="7F7F7F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470906" y="1813902"/>
            <a:ext cx="8204781" cy="309721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66286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525" y="1772816"/>
            <a:ext cx="8204781" cy="4353347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565107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525" y="1772816"/>
            <a:ext cx="4038600" cy="4353347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70906" y="1135063"/>
            <a:ext cx="8204781" cy="27699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4"/>
          </p:nvPr>
        </p:nvSpPr>
        <p:spPr>
          <a:xfrm>
            <a:off x="4634706" y="1772816"/>
            <a:ext cx="4038600" cy="435334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491563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Bild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525" y="1772816"/>
            <a:ext cx="4038600" cy="435334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70906" y="1135063"/>
            <a:ext cx="8204781" cy="27699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8"/>
          </p:nvPr>
        </p:nvSpPr>
        <p:spPr>
          <a:xfrm>
            <a:off x="4634706" y="1772816"/>
            <a:ext cx="4038600" cy="4353347"/>
          </a:xfrm>
        </p:spPr>
        <p:txBody>
          <a:bodyPr/>
          <a:lstStyle/>
          <a:p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770514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547769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70906" y="1135063"/>
            <a:ext cx="8204781" cy="27699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051718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Inhalt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525" y="1772816"/>
            <a:ext cx="8204781" cy="4353347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70906" y="1135063"/>
            <a:ext cx="8204781" cy="27699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4"/>
          </p:nvPr>
        </p:nvSpPr>
        <p:spPr>
          <a:xfrm>
            <a:off x="470906" y="6236019"/>
            <a:ext cx="6765390" cy="230665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434122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für BU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/>
          <p:cNvSpPr txBox="1"/>
          <p:nvPr userDrawn="1"/>
        </p:nvSpPr>
        <p:spPr>
          <a:xfrm>
            <a:off x="7332372" y="6236019"/>
            <a:ext cx="1343316" cy="230665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de-DE"/>
            </a:defPPr>
            <a:lvl1pPr>
              <a:defRPr sz="10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 algn="r"/>
            <a:r>
              <a:rPr lang="de-DE" noProof="1" smtClean="0"/>
              <a:t>© Fiducia &amp; GAD IT AG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84693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61698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468525" y="1772816"/>
            <a:ext cx="8204781" cy="4353347"/>
          </a:xfrm>
        </p:spPr>
        <p:txBody>
          <a:bodyPr tIns="1620000"/>
          <a:lstStyle>
            <a:lvl1pPr marL="0" indent="0" algn="ctr">
              <a:buNone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7032715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0" y="0"/>
            <a:ext cx="9144000" cy="56907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0906" y="444969"/>
            <a:ext cx="8204781" cy="615553"/>
          </a:xfrm>
        </p:spPr>
        <p:txBody>
          <a:bodyPr anchor="b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0906" y="1103666"/>
            <a:ext cx="8204781" cy="276999"/>
          </a:xfrm>
        </p:spPr>
        <p:txBody>
          <a:bodyPr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470906" y="1423809"/>
            <a:ext cx="8204781" cy="276999"/>
          </a:xfrm>
        </p:spPr>
        <p:txBody>
          <a:bodyPr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sz="quarter" idx="14"/>
          </p:nvPr>
        </p:nvSpPr>
        <p:spPr>
          <a:xfrm>
            <a:off x="470906" y="5024209"/>
            <a:ext cx="8204781" cy="276999"/>
          </a:xfrm>
        </p:spPr>
        <p:txBody>
          <a:bodyPr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1731" y="5851459"/>
            <a:ext cx="1930804" cy="895358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201" y="6583472"/>
            <a:ext cx="1365577" cy="160370"/>
          </a:xfrm>
          <a:prstGeom prst="rect">
            <a:avLst/>
          </a:prstGeom>
        </p:spPr>
      </p:pic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470906" y="6513177"/>
            <a:ext cx="7053422" cy="23066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rgbClr val="7F7F7F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470906" y="1813902"/>
            <a:ext cx="8204781" cy="309721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950191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525" y="1772816"/>
            <a:ext cx="8204781" cy="4353347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949730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525" y="1772816"/>
            <a:ext cx="4038600" cy="4353347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70906" y="1135063"/>
            <a:ext cx="8204781" cy="27699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4"/>
          </p:nvPr>
        </p:nvSpPr>
        <p:spPr>
          <a:xfrm>
            <a:off x="4634706" y="1772816"/>
            <a:ext cx="4038600" cy="4353347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0878225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Bild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525" y="1772816"/>
            <a:ext cx="4038600" cy="4353347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70906" y="1135063"/>
            <a:ext cx="8204781" cy="27699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8"/>
          </p:nvPr>
        </p:nvSpPr>
        <p:spPr>
          <a:xfrm>
            <a:off x="4634706" y="1772816"/>
            <a:ext cx="4038600" cy="4353347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991176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02847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70906" y="1135063"/>
            <a:ext cx="8204781" cy="27699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121250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für BU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/>
          <p:cNvSpPr txBox="1"/>
          <p:nvPr userDrawn="1"/>
        </p:nvSpPr>
        <p:spPr>
          <a:xfrm>
            <a:off x="7332372" y="6236019"/>
            <a:ext cx="1343316" cy="230665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de-DE"/>
            </a:defPPr>
            <a:lvl1pPr>
              <a:defRPr sz="10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 algn="r"/>
            <a:r>
              <a:rPr lang="de-DE" noProof="1" smtClean="0"/>
              <a:t>© Fiducia &amp; GAD IT AG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408114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6462000"/>
            <a:ext cx="9144000" cy="396000"/>
          </a:xfrm>
          <a:prstGeom prst="rect">
            <a:avLst/>
          </a:prstGeom>
          <a:solidFill>
            <a:srgbClr val="0066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0906" y="476672"/>
            <a:ext cx="6419056" cy="33855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525" y="1772816"/>
            <a:ext cx="8204781" cy="43533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0906" y="6236019"/>
            <a:ext cx="6861466" cy="23066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1000">
                <a:solidFill>
                  <a:srgbClr val="7F7F7F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4996" y="195033"/>
            <a:ext cx="1930804" cy="895358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7332372" y="6236019"/>
            <a:ext cx="1343316" cy="230665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de-DE"/>
            </a:defPPr>
            <a:lvl1pPr>
              <a:defRPr sz="10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 algn="r"/>
            <a:r>
              <a:rPr lang="de-DE" noProof="1" smtClean="0"/>
              <a:t>© Fiducia &amp; GAD IT AG</a:t>
            </a:r>
          </a:p>
        </p:txBody>
      </p:sp>
      <p:sp>
        <p:nvSpPr>
          <p:cNvPr id="10" name="empower - DO NOT DELETE!!!" hidden="1"/>
          <p:cNvSpPr/>
          <p:nvPr>
            <p:custDataLst>
              <p:tags r:id="rId13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8146769" y="6567667"/>
            <a:ext cx="528918" cy="18466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fld id="{AF911D4A-070B-4C3B-BD2B-33DF91ACF09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3"/>
          </p:nvPr>
        </p:nvSpPr>
        <p:spPr>
          <a:xfrm>
            <a:off x="470906" y="6567667"/>
            <a:ext cx="7512424" cy="18466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21136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>
    <p:wipe/>
  </p:transition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rgbClr val="0066B3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buClr>
          <a:srgbClr val="0066B3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200"/>
        </a:spcBef>
        <a:buClr>
          <a:srgbClr val="0066B3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0066B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0066B3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0066B3"/>
        </a:buClr>
        <a:buSzPct val="8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117" userDrawn="1">
          <p15:clr>
            <a:srgbClr val="F26B43"/>
          </p15:clr>
        </p15:guide>
        <p15:guide id="2" pos="5465" userDrawn="1">
          <p15:clr>
            <a:srgbClr val="F26B43"/>
          </p15:clr>
        </p15:guide>
        <p15:guide id="3" pos="295" userDrawn="1">
          <p15:clr>
            <a:srgbClr val="F26B43"/>
          </p15:clr>
        </p15:guide>
        <p15:guide id="4" orient="horz" pos="3861" userDrawn="1">
          <p15:clr>
            <a:srgbClr val="F26B43"/>
          </p15:clr>
        </p15:guide>
        <p15:guide id="5" orient="horz" pos="397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6462000"/>
            <a:ext cx="9144000" cy="396000"/>
          </a:xfrm>
          <a:prstGeom prst="rect">
            <a:avLst/>
          </a:prstGeom>
          <a:solidFill>
            <a:srgbClr val="0066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0906" y="476672"/>
            <a:ext cx="6419056" cy="33855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525" y="1772816"/>
            <a:ext cx="8204781" cy="43533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0906" y="6236019"/>
            <a:ext cx="6621374" cy="23066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1000">
                <a:solidFill>
                  <a:srgbClr val="7F7F7F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4996" y="195033"/>
            <a:ext cx="1930804" cy="895358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7332372" y="6236019"/>
            <a:ext cx="1343316" cy="230665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de-DE"/>
            </a:defPPr>
            <a:lvl1pPr>
              <a:defRPr sz="10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 algn="r"/>
            <a:r>
              <a:rPr lang="de-DE" noProof="1" smtClean="0"/>
              <a:t>© Fiducia &amp; GAD IT AG</a:t>
            </a:r>
          </a:p>
        </p:txBody>
      </p:sp>
      <p:sp>
        <p:nvSpPr>
          <p:cNvPr id="10" name="empower - DO NOT DELETE!!!" hidden="1"/>
          <p:cNvSpPr/>
          <p:nvPr>
            <p:custDataLst>
              <p:tags r:id="rId13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8146769" y="6567667"/>
            <a:ext cx="528918" cy="18466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fld id="{AF911D4A-070B-4C3B-BD2B-33DF91ACF09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3"/>
          </p:nvPr>
        </p:nvSpPr>
        <p:spPr>
          <a:xfrm>
            <a:off x="470906" y="6567667"/>
            <a:ext cx="7512424" cy="18466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4950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ransition spd="slow">
    <p:wipe/>
  </p:transition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rgbClr val="0066B3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buClr>
          <a:srgbClr val="0066B3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200"/>
        </a:spcBef>
        <a:buClr>
          <a:srgbClr val="0066B3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0066B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0066B3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0066B3"/>
        </a:buClr>
        <a:buSzPct val="8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4294967295" orient="horz" pos="1117">
          <p15:clr>
            <a:srgbClr val="F26B43"/>
          </p15:clr>
        </p15:guide>
        <p15:guide id="4294967295" pos="5465">
          <p15:clr>
            <a:srgbClr val="F26B43"/>
          </p15:clr>
        </p15:guide>
        <p15:guide id="4294967295" pos="295">
          <p15:clr>
            <a:srgbClr val="F26B43"/>
          </p15:clr>
        </p15:guide>
        <p15:guide id="4294967295" orient="horz" pos="3861">
          <p15:clr>
            <a:srgbClr val="F26B43"/>
          </p15:clr>
        </p15:guide>
        <p15:guide id="4294967295" orient="horz" pos="39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notesSlide" Target="../notesSlides/notesSlide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5.gif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.gi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4" Type="http://schemas.openxmlformats.org/officeDocument/2006/relationships/notesSlide" Target="../notesSlides/notesSlide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7.xml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notesSlide" Target="../notesSlides/notesSlide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1.xml"/><Relationship Id="rId4" Type="http://schemas.openxmlformats.org/officeDocument/2006/relationships/image" Target="../media/image1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4" Type="http://schemas.openxmlformats.org/officeDocument/2006/relationships/image" Target="../media/image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PowerShell </a:t>
            </a:r>
            <a:r>
              <a:rPr lang="de-DE" dirty="0" err="1" smtClean="0"/>
              <a:t>goes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Software Engineering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Inhaltsplatzhalt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endParaRPr lang="de-DE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46138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468525" y="1772817"/>
            <a:ext cx="8204781" cy="1296144"/>
          </a:xfrm>
        </p:spPr>
        <p:txBody>
          <a:bodyPr/>
          <a:lstStyle/>
          <a:p>
            <a:r>
              <a:rPr lang="de-DE" dirty="0" smtClean="0"/>
              <a:t>PowerShell ist und sollte die schnelle einfache Lösung zur automatisierten Administration bleiben</a:t>
            </a:r>
          </a:p>
          <a:p>
            <a:r>
              <a:rPr lang="de-DE" dirty="0" smtClean="0">
                <a:sym typeface="Wingdings" pitchFamily="2" charset="2"/>
              </a:rPr>
              <a:t> Einstiegshürde weiter niedrig halten ( kein Mehraufwand) und nicht mit Kanonen auf Spatzen schießen</a:t>
            </a: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Nice Try, but...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dee: PowerShell </a:t>
            </a:r>
            <a:r>
              <a:rPr lang="de-DE" dirty="0" err="1" smtClean="0"/>
              <a:t>goes</a:t>
            </a:r>
            <a:r>
              <a:rPr lang="de-DE" dirty="0" smtClean="0"/>
              <a:t> Software Engineer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8" name="Textfeld 7"/>
          <p:cNvSpPr txBox="1"/>
          <p:nvPr/>
        </p:nvSpPr>
        <p:spPr>
          <a:xfrm>
            <a:off x="1115616" y="3284984"/>
            <a:ext cx="7031153" cy="92333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de-DE" b="1" dirty="0" smtClean="0"/>
              <a:t>Software Engineering im PowerShell-Umfeld =! </a:t>
            </a:r>
            <a:br>
              <a:rPr lang="de-DE" b="1" dirty="0" smtClean="0"/>
            </a:br>
            <a:r>
              <a:rPr lang="de-DE" b="1" dirty="0" smtClean="0"/>
              <a:t>Striktes Vorgehensmodell mit vorgegebenen Methoden</a:t>
            </a:r>
          </a:p>
          <a:p>
            <a:endParaRPr lang="de-DE" b="1" dirty="0"/>
          </a:p>
        </p:txBody>
      </p:sp>
      <p:sp>
        <p:nvSpPr>
          <p:cNvPr id="9" name="Textfeld 8"/>
          <p:cNvSpPr txBox="1"/>
          <p:nvPr/>
        </p:nvSpPr>
        <p:spPr>
          <a:xfrm>
            <a:off x="1115616" y="4437112"/>
            <a:ext cx="7031153" cy="1200329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de-DE" b="1" dirty="0" smtClean="0"/>
              <a:t>Software Engineering im PowerShell-Umfeld = </a:t>
            </a:r>
          </a:p>
          <a:p>
            <a:r>
              <a:rPr lang="de-DE" b="1" dirty="0" smtClean="0"/>
              <a:t>Vorgehensratschläge und </a:t>
            </a:r>
            <a:r>
              <a:rPr lang="de-DE" b="1" dirty="0" err="1" smtClean="0"/>
              <a:t>assisted</a:t>
            </a:r>
            <a:r>
              <a:rPr lang="de-DE" b="1" dirty="0" smtClean="0"/>
              <a:t>/</a:t>
            </a:r>
            <a:r>
              <a:rPr lang="de-DE" b="1" dirty="0" err="1" smtClean="0"/>
              <a:t>Guided</a:t>
            </a:r>
            <a:r>
              <a:rPr lang="de-DE" b="1" dirty="0" smtClean="0"/>
              <a:t> Programming/Scripting</a:t>
            </a:r>
          </a:p>
          <a:p>
            <a:endParaRPr lang="de-DE" b="1" dirty="0"/>
          </a:p>
        </p:txBody>
      </p:sp>
      <p:sp>
        <p:nvSpPr>
          <p:cNvPr id="10" name="Thumb up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7415999" y="4956349"/>
            <a:ext cx="264805" cy="303213"/>
          </a:xfrm>
          <a:custGeom>
            <a:avLst/>
            <a:gdLst/>
            <a:ahLst/>
            <a:cxnLst>
              <a:cxn ang="0">
                <a:pos x="65" y="50"/>
              </a:cxn>
              <a:cxn ang="0">
                <a:pos x="59" y="44"/>
              </a:cxn>
              <a:cxn ang="0">
                <a:pos x="50" y="45"/>
              </a:cxn>
              <a:cxn ang="0">
                <a:pos x="50" y="45"/>
              </a:cxn>
              <a:cxn ang="0">
                <a:pos x="57" y="44"/>
              </a:cxn>
              <a:cxn ang="0">
                <a:pos x="61" y="38"/>
              </a:cxn>
              <a:cxn ang="0">
                <a:pos x="56" y="33"/>
              </a:cxn>
              <a:cxn ang="0">
                <a:pos x="33" y="35"/>
              </a:cxn>
              <a:cxn ang="0">
                <a:pos x="30" y="36"/>
              </a:cxn>
              <a:cxn ang="0">
                <a:pos x="31" y="17"/>
              </a:cxn>
              <a:cxn ang="0">
                <a:pos x="19" y="7"/>
              </a:cxn>
              <a:cxn ang="0">
                <a:pos x="18" y="23"/>
              </a:cxn>
              <a:cxn ang="0">
                <a:pos x="7" y="46"/>
              </a:cxn>
              <a:cxn ang="0">
                <a:pos x="0" y="49"/>
              </a:cxn>
              <a:cxn ang="0">
                <a:pos x="0" y="77"/>
              </a:cxn>
              <a:cxn ang="0">
                <a:pos x="26" y="81"/>
              </a:cxn>
              <a:cxn ang="0">
                <a:pos x="43" y="79"/>
              </a:cxn>
              <a:cxn ang="0">
                <a:pos x="57" y="78"/>
              </a:cxn>
              <a:cxn ang="0">
                <a:pos x="61" y="72"/>
              </a:cxn>
              <a:cxn ang="0">
                <a:pos x="57" y="67"/>
              </a:cxn>
              <a:cxn ang="0">
                <a:pos x="59" y="67"/>
              </a:cxn>
              <a:cxn ang="0">
                <a:pos x="63" y="61"/>
              </a:cxn>
              <a:cxn ang="0">
                <a:pos x="59" y="56"/>
              </a:cxn>
              <a:cxn ang="0">
                <a:pos x="60" y="56"/>
              </a:cxn>
              <a:cxn ang="0">
                <a:pos x="65" y="50"/>
              </a:cxn>
            </a:cxnLst>
            <a:rect l="0" t="0" r="r" b="b"/>
            <a:pathLst>
              <a:path w="65" h="81">
                <a:moveTo>
                  <a:pt x="65" y="50"/>
                </a:moveTo>
                <a:cubicBezTo>
                  <a:pt x="64" y="46"/>
                  <a:pt x="62" y="44"/>
                  <a:pt x="59" y="44"/>
                </a:cubicBezTo>
                <a:cubicBezTo>
                  <a:pt x="50" y="45"/>
                  <a:pt x="50" y="45"/>
                  <a:pt x="50" y="45"/>
                </a:cubicBezTo>
                <a:cubicBezTo>
                  <a:pt x="50" y="45"/>
                  <a:pt x="50" y="45"/>
                  <a:pt x="50" y="45"/>
                </a:cubicBezTo>
                <a:cubicBezTo>
                  <a:pt x="57" y="44"/>
                  <a:pt x="57" y="44"/>
                  <a:pt x="57" y="44"/>
                </a:cubicBezTo>
                <a:cubicBezTo>
                  <a:pt x="60" y="44"/>
                  <a:pt x="62" y="41"/>
                  <a:pt x="61" y="38"/>
                </a:cubicBezTo>
                <a:cubicBezTo>
                  <a:pt x="61" y="35"/>
                  <a:pt x="58" y="33"/>
                  <a:pt x="56" y="33"/>
                </a:cubicBezTo>
                <a:cubicBezTo>
                  <a:pt x="33" y="35"/>
                  <a:pt x="33" y="35"/>
                  <a:pt x="33" y="35"/>
                </a:cubicBezTo>
                <a:cubicBezTo>
                  <a:pt x="30" y="36"/>
                  <a:pt x="30" y="36"/>
                  <a:pt x="30" y="36"/>
                </a:cubicBezTo>
                <a:cubicBezTo>
                  <a:pt x="30" y="36"/>
                  <a:pt x="35" y="33"/>
                  <a:pt x="31" y="17"/>
                </a:cubicBezTo>
                <a:cubicBezTo>
                  <a:pt x="28" y="0"/>
                  <a:pt x="19" y="7"/>
                  <a:pt x="19" y="7"/>
                </a:cubicBezTo>
                <a:cubicBezTo>
                  <a:pt x="19" y="7"/>
                  <a:pt x="18" y="21"/>
                  <a:pt x="18" y="23"/>
                </a:cubicBezTo>
                <a:cubicBezTo>
                  <a:pt x="17" y="25"/>
                  <a:pt x="7" y="46"/>
                  <a:pt x="7" y="46"/>
                </a:cubicBezTo>
                <a:cubicBezTo>
                  <a:pt x="7" y="47"/>
                  <a:pt x="0" y="48"/>
                  <a:pt x="0" y="49"/>
                </a:cubicBezTo>
                <a:cubicBezTo>
                  <a:pt x="0" y="59"/>
                  <a:pt x="0" y="67"/>
                  <a:pt x="0" y="77"/>
                </a:cubicBezTo>
                <a:cubicBezTo>
                  <a:pt x="7" y="75"/>
                  <a:pt x="11" y="81"/>
                  <a:pt x="26" y="81"/>
                </a:cubicBezTo>
                <a:cubicBezTo>
                  <a:pt x="31" y="81"/>
                  <a:pt x="38" y="80"/>
                  <a:pt x="43" y="79"/>
                </a:cubicBezTo>
                <a:cubicBezTo>
                  <a:pt x="57" y="78"/>
                  <a:pt x="57" y="78"/>
                  <a:pt x="57" y="78"/>
                </a:cubicBezTo>
                <a:cubicBezTo>
                  <a:pt x="59" y="78"/>
                  <a:pt x="61" y="75"/>
                  <a:pt x="61" y="72"/>
                </a:cubicBezTo>
                <a:cubicBezTo>
                  <a:pt x="60" y="70"/>
                  <a:pt x="59" y="68"/>
                  <a:pt x="57" y="67"/>
                </a:cubicBezTo>
                <a:cubicBezTo>
                  <a:pt x="59" y="67"/>
                  <a:pt x="59" y="67"/>
                  <a:pt x="59" y="67"/>
                </a:cubicBezTo>
                <a:cubicBezTo>
                  <a:pt x="62" y="67"/>
                  <a:pt x="64" y="64"/>
                  <a:pt x="63" y="61"/>
                </a:cubicBezTo>
                <a:cubicBezTo>
                  <a:pt x="63" y="58"/>
                  <a:pt x="61" y="56"/>
                  <a:pt x="59" y="56"/>
                </a:cubicBezTo>
                <a:cubicBezTo>
                  <a:pt x="60" y="56"/>
                  <a:pt x="60" y="56"/>
                  <a:pt x="60" y="56"/>
                </a:cubicBezTo>
                <a:cubicBezTo>
                  <a:pt x="63" y="55"/>
                  <a:pt x="65" y="53"/>
                  <a:pt x="65" y="50"/>
                </a:cubicBezTo>
                <a:close/>
              </a:path>
            </a:pathLst>
          </a:custGeom>
          <a:solidFill>
            <a:srgbClr val="0066B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1" name="Thumb down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7415999" y="3730972"/>
            <a:ext cx="288879" cy="315913"/>
          </a:xfrm>
          <a:custGeom>
            <a:avLst/>
            <a:gdLst/>
            <a:ahLst/>
            <a:cxnLst>
              <a:cxn ang="0">
                <a:pos x="71" y="37"/>
              </a:cxn>
              <a:cxn ang="0">
                <a:pos x="65" y="33"/>
              </a:cxn>
              <a:cxn ang="0">
                <a:pos x="58" y="34"/>
              </a:cxn>
              <a:cxn ang="0">
                <a:pos x="58" y="34"/>
              </a:cxn>
              <a:cxn ang="0">
                <a:pos x="66" y="32"/>
              </a:cxn>
              <a:cxn ang="0">
                <a:pos x="70" y="25"/>
              </a:cxn>
              <a:cxn ang="0">
                <a:pos x="64" y="21"/>
              </a:cxn>
              <a:cxn ang="0">
                <a:pos x="63" y="21"/>
              </a:cxn>
              <a:cxn ang="0">
                <a:pos x="66" y="15"/>
              </a:cxn>
              <a:cxn ang="0">
                <a:pos x="59" y="11"/>
              </a:cxn>
              <a:cxn ang="0">
                <a:pos x="58" y="11"/>
              </a:cxn>
              <a:cxn ang="0">
                <a:pos x="59" y="5"/>
              </a:cxn>
              <a:cxn ang="0">
                <a:pos x="54" y="1"/>
              </a:cxn>
              <a:cxn ang="0">
                <a:pos x="40" y="4"/>
              </a:cxn>
              <a:cxn ang="0">
                <a:pos x="24" y="8"/>
              </a:cxn>
              <a:cxn ang="0">
                <a:pos x="0" y="20"/>
              </a:cxn>
              <a:cxn ang="0">
                <a:pos x="1" y="46"/>
              </a:cxn>
              <a:cxn ang="0">
                <a:pos x="16" y="47"/>
              </a:cxn>
              <a:cxn ang="0">
                <a:pos x="35" y="66"/>
              </a:cxn>
              <a:cxn ang="0">
                <a:pos x="41" y="81"/>
              </a:cxn>
              <a:cxn ang="0">
                <a:pos x="49" y="67"/>
              </a:cxn>
              <a:cxn ang="0">
                <a:pos x="42" y="50"/>
              </a:cxn>
              <a:cxn ang="0">
                <a:pos x="45" y="49"/>
              </a:cxn>
              <a:cxn ang="0">
                <a:pos x="67" y="44"/>
              </a:cxn>
              <a:cxn ang="0">
                <a:pos x="71" y="37"/>
              </a:cxn>
            </a:cxnLst>
            <a:rect l="0" t="0" r="r" b="b"/>
            <a:pathLst>
              <a:path w="71" h="84">
                <a:moveTo>
                  <a:pt x="71" y="37"/>
                </a:moveTo>
                <a:cubicBezTo>
                  <a:pt x="70" y="34"/>
                  <a:pt x="67" y="32"/>
                  <a:pt x="65" y="33"/>
                </a:cubicBezTo>
                <a:cubicBezTo>
                  <a:pt x="58" y="34"/>
                  <a:pt x="58" y="34"/>
                  <a:pt x="58" y="34"/>
                </a:cubicBezTo>
                <a:cubicBezTo>
                  <a:pt x="58" y="34"/>
                  <a:pt x="58" y="34"/>
                  <a:pt x="58" y="34"/>
                </a:cubicBezTo>
                <a:cubicBezTo>
                  <a:pt x="66" y="32"/>
                  <a:pt x="66" y="32"/>
                  <a:pt x="66" y="32"/>
                </a:cubicBezTo>
                <a:cubicBezTo>
                  <a:pt x="69" y="31"/>
                  <a:pt x="71" y="28"/>
                  <a:pt x="70" y="25"/>
                </a:cubicBezTo>
                <a:cubicBezTo>
                  <a:pt x="70" y="22"/>
                  <a:pt x="67" y="20"/>
                  <a:pt x="64" y="21"/>
                </a:cubicBezTo>
                <a:cubicBezTo>
                  <a:pt x="63" y="21"/>
                  <a:pt x="63" y="21"/>
                  <a:pt x="63" y="21"/>
                </a:cubicBezTo>
                <a:cubicBezTo>
                  <a:pt x="65" y="20"/>
                  <a:pt x="66" y="18"/>
                  <a:pt x="66" y="15"/>
                </a:cubicBezTo>
                <a:cubicBezTo>
                  <a:pt x="65" y="12"/>
                  <a:pt x="62" y="10"/>
                  <a:pt x="59" y="11"/>
                </a:cubicBezTo>
                <a:cubicBezTo>
                  <a:pt x="58" y="11"/>
                  <a:pt x="58" y="11"/>
                  <a:pt x="58" y="11"/>
                </a:cubicBezTo>
                <a:cubicBezTo>
                  <a:pt x="59" y="10"/>
                  <a:pt x="60" y="8"/>
                  <a:pt x="59" y="5"/>
                </a:cubicBezTo>
                <a:cubicBezTo>
                  <a:pt x="59" y="2"/>
                  <a:pt x="56" y="0"/>
                  <a:pt x="54" y="1"/>
                </a:cubicBezTo>
                <a:cubicBezTo>
                  <a:pt x="40" y="4"/>
                  <a:pt x="40" y="4"/>
                  <a:pt x="40" y="4"/>
                </a:cubicBezTo>
                <a:cubicBezTo>
                  <a:pt x="35" y="5"/>
                  <a:pt x="29" y="6"/>
                  <a:pt x="24" y="8"/>
                </a:cubicBezTo>
                <a:cubicBezTo>
                  <a:pt x="9" y="13"/>
                  <a:pt x="7" y="19"/>
                  <a:pt x="0" y="20"/>
                </a:cubicBezTo>
                <a:cubicBezTo>
                  <a:pt x="0" y="32"/>
                  <a:pt x="0" y="36"/>
                  <a:pt x="1" y="46"/>
                </a:cubicBezTo>
                <a:cubicBezTo>
                  <a:pt x="1" y="48"/>
                  <a:pt x="16" y="46"/>
                  <a:pt x="16" y="47"/>
                </a:cubicBezTo>
                <a:cubicBezTo>
                  <a:pt x="16" y="47"/>
                  <a:pt x="34" y="64"/>
                  <a:pt x="35" y="66"/>
                </a:cubicBezTo>
                <a:cubicBezTo>
                  <a:pt x="36" y="67"/>
                  <a:pt x="41" y="81"/>
                  <a:pt x="41" y="81"/>
                </a:cubicBezTo>
                <a:cubicBezTo>
                  <a:pt x="41" y="81"/>
                  <a:pt x="51" y="84"/>
                  <a:pt x="49" y="67"/>
                </a:cubicBezTo>
                <a:cubicBezTo>
                  <a:pt x="47" y="50"/>
                  <a:pt x="42" y="50"/>
                  <a:pt x="42" y="50"/>
                </a:cubicBezTo>
                <a:cubicBezTo>
                  <a:pt x="45" y="49"/>
                  <a:pt x="45" y="49"/>
                  <a:pt x="45" y="49"/>
                </a:cubicBezTo>
                <a:cubicBezTo>
                  <a:pt x="67" y="44"/>
                  <a:pt x="67" y="44"/>
                  <a:pt x="67" y="44"/>
                </a:cubicBezTo>
                <a:cubicBezTo>
                  <a:pt x="70" y="43"/>
                  <a:pt x="71" y="40"/>
                  <a:pt x="71" y="37"/>
                </a:cubicBezTo>
                <a:close/>
              </a:path>
            </a:pathLst>
          </a:custGeom>
          <a:solidFill>
            <a:srgbClr val="0066B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Was heißt das nun?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dee: PowerShell </a:t>
            </a:r>
            <a:r>
              <a:rPr lang="de-DE" dirty="0" err="1" smtClean="0"/>
              <a:t>goes</a:t>
            </a:r>
            <a:r>
              <a:rPr lang="de-DE" dirty="0" smtClean="0"/>
              <a:t> Software Engineer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11</a:t>
            </a:fld>
            <a:endParaRPr lang="de-DE" dirty="0"/>
          </a:p>
        </p:txBody>
      </p:sp>
      <p:graphicFrame>
        <p:nvGraphicFramePr>
          <p:cNvPr id="11" name="Diagramm 10"/>
          <p:cNvGraphicFramePr/>
          <p:nvPr/>
        </p:nvGraphicFramePr>
        <p:xfrm>
          <a:off x="251520" y="1628800"/>
          <a:ext cx="2592288" cy="42642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6" name="Geschweifte Klammer rechts 15"/>
          <p:cNvSpPr/>
          <p:nvPr/>
        </p:nvSpPr>
        <p:spPr>
          <a:xfrm>
            <a:off x="2843808" y="1628800"/>
            <a:ext cx="432048" cy="15841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Geschweifte Klammer rechts 17"/>
          <p:cNvSpPr/>
          <p:nvPr/>
        </p:nvSpPr>
        <p:spPr>
          <a:xfrm>
            <a:off x="2843808" y="3429000"/>
            <a:ext cx="432048" cy="15841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Geschweifte Klammer rechts 18"/>
          <p:cNvSpPr/>
          <p:nvPr/>
        </p:nvSpPr>
        <p:spPr>
          <a:xfrm>
            <a:off x="2843808" y="5229200"/>
            <a:ext cx="432048" cy="79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extfeld 20"/>
          <p:cNvSpPr txBox="1"/>
          <p:nvPr/>
        </p:nvSpPr>
        <p:spPr>
          <a:xfrm>
            <a:off x="3419872" y="2236222"/>
            <a:ext cx="23519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Vorgehensratschläge</a:t>
            </a:r>
            <a:endParaRPr lang="de-DE" dirty="0"/>
          </a:p>
        </p:txBody>
      </p:sp>
      <p:sp>
        <p:nvSpPr>
          <p:cNvPr id="22" name="Textfeld 21"/>
          <p:cNvSpPr txBox="1"/>
          <p:nvPr/>
        </p:nvSpPr>
        <p:spPr>
          <a:xfrm>
            <a:off x="3419872" y="5373216"/>
            <a:ext cx="23519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Vorgehensratschläge</a:t>
            </a:r>
            <a:endParaRPr lang="de-DE" dirty="0"/>
          </a:p>
        </p:txBody>
      </p:sp>
      <p:sp>
        <p:nvSpPr>
          <p:cNvPr id="23" name="Textfeld 22"/>
          <p:cNvSpPr txBox="1"/>
          <p:nvPr/>
        </p:nvSpPr>
        <p:spPr>
          <a:xfrm>
            <a:off x="3572272" y="3933056"/>
            <a:ext cx="253146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Assisted</a:t>
            </a:r>
            <a:r>
              <a:rPr lang="de-DE" dirty="0" smtClean="0"/>
              <a:t>/</a:t>
            </a:r>
            <a:r>
              <a:rPr lang="de-DE" dirty="0" err="1" smtClean="0"/>
              <a:t>Guided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Programming/Scripting</a:t>
            </a:r>
            <a:endParaRPr lang="de-DE" dirty="0"/>
          </a:p>
        </p:txBody>
      </p:sp>
      <p:sp>
        <p:nvSpPr>
          <p:cNvPr id="24" name="Pfeil nach rechts 23"/>
          <p:cNvSpPr/>
          <p:nvPr/>
        </p:nvSpPr>
        <p:spPr>
          <a:xfrm>
            <a:off x="6103734" y="3933056"/>
            <a:ext cx="412482" cy="504056"/>
          </a:xfrm>
          <a:prstGeom prst="rightArrow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Abgerundetes Rechteck 24"/>
          <p:cNvSpPr/>
          <p:nvPr/>
        </p:nvSpPr>
        <p:spPr>
          <a:xfrm>
            <a:off x="6660232" y="3429000"/>
            <a:ext cx="2232248" cy="1584176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Strukturierter, an Standards angelegter Quellcode und Testfälle</a:t>
            </a:r>
            <a:endParaRPr lang="de-DE" dirty="0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Was heißt das nun?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dee: PowerShell </a:t>
            </a:r>
            <a:r>
              <a:rPr lang="de-DE" dirty="0" err="1" smtClean="0"/>
              <a:t>goes</a:t>
            </a:r>
            <a:r>
              <a:rPr lang="de-DE" dirty="0" smtClean="0"/>
              <a:t> Software Engineer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12</a:t>
            </a:fld>
            <a:endParaRPr lang="de-DE" dirty="0"/>
          </a:p>
        </p:txBody>
      </p:sp>
      <p:graphicFrame>
        <p:nvGraphicFramePr>
          <p:cNvPr id="11" name="Diagramm 10"/>
          <p:cNvGraphicFramePr/>
          <p:nvPr/>
        </p:nvGraphicFramePr>
        <p:xfrm>
          <a:off x="251520" y="1628800"/>
          <a:ext cx="2592288" cy="42642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2" name="Gruppieren 11"/>
          <p:cNvGrpSpPr/>
          <p:nvPr/>
        </p:nvGrpSpPr>
        <p:grpSpPr>
          <a:xfrm>
            <a:off x="3651712" y="1628800"/>
            <a:ext cx="4364168" cy="2376264"/>
            <a:chOff x="100328" y="520"/>
            <a:chExt cx="2391630" cy="609029"/>
          </a:xfrm>
        </p:grpSpPr>
        <p:sp>
          <p:nvSpPr>
            <p:cNvPr id="13" name="Abgerundetes Rechteck 12"/>
            <p:cNvSpPr/>
            <p:nvPr/>
          </p:nvSpPr>
          <p:spPr>
            <a:xfrm>
              <a:off x="100328" y="520"/>
              <a:ext cx="2391630" cy="609029"/>
            </a:xfrm>
            <a:prstGeom prst="roundRect">
              <a:avLst>
                <a:gd name="adj" fmla="val 10000"/>
              </a:avLst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14" name="Abgerundetes Rechteck 4"/>
            <p:cNvSpPr/>
            <p:nvPr/>
          </p:nvSpPr>
          <p:spPr>
            <a:xfrm>
              <a:off x="118166" y="18358"/>
              <a:ext cx="2355954" cy="57335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57150" tIns="57150" rIns="57150" bIns="57150" numCol="1" spcCol="1270" anchor="t" anchorCtr="0">
              <a:noAutofit/>
            </a:bodyPr>
            <a:lstStyle/>
            <a:p>
              <a:pPr lvl="0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500" b="1" kern="1200" dirty="0" smtClean="0"/>
                <a:t>Mindestinformation:</a:t>
              </a:r>
            </a:p>
            <a:p>
              <a:pPr lvl="0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de-DE" sz="1500" b="1" kern="1200" dirty="0"/>
            </a:p>
          </p:txBody>
        </p:sp>
      </p:grpSp>
      <p:sp>
        <p:nvSpPr>
          <p:cNvPr id="15" name="Vertikaler Bildlauf 14"/>
          <p:cNvSpPr/>
          <p:nvPr/>
        </p:nvSpPr>
        <p:spPr>
          <a:xfrm>
            <a:off x="4310921" y="2204863"/>
            <a:ext cx="2822018" cy="1512168"/>
          </a:xfrm>
          <a:prstGeom prst="verticalScroll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buFont typeface="Arial" pitchFamily="34" charset="0"/>
              <a:buChar char="•"/>
            </a:pPr>
            <a:r>
              <a:rPr lang="de-DE" dirty="0" smtClean="0"/>
              <a:t> Input</a:t>
            </a:r>
          </a:p>
          <a:p>
            <a:pPr>
              <a:buFont typeface="Arial" pitchFamily="34" charset="0"/>
              <a:buChar char="•"/>
            </a:pPr>
            <a:r>
              <a:rPr lang="de-DE" dirty="0" smtClean="0"/>
              <a:t> Output</a:t>
            </a:r>
          </a:p>
          <a:p>
            <a:pPr>
              <a:buFont typeface="Arial" pitchFamily="34" charset="0"/>
              <a:buChar char="•"/>
            </a:pPr>
            <a:r>
              <a:rPr lang="de-DE" dirty="0" smtClean="0"/>
              <a:t> Ansprechpartner</a:t>
            </a:r>
          </a:p>
          <a:p>
            <a:pPr>
              <a:buFont typeface="Arial" pitchFamily="34" charset="0"/>
              <a:buChar char="•"/>
            </a:pPr>
            <a:r>
              <a:rPr lang="de-DE" dirty="0" smtClean="0"/>
              <a:t> Testfälle</a:t>
            </a:r>
            <a:endParaRPr lang="de-DE" dirty="0"/>
          </a:p>
        </p:txBody>
      </p:sp>
      <p:cxnSp>
        <p:nvCxnSpPr>
          <p:cNvPr id="17" name="Gerade Verbindung mit Pfeil 16"/>
          <p:cNvCxnSpPr/>
          <p:nvPr/>
        </p:nvCxnSpPr>
        <p:spPr>
          <a:xfrm>
            <a:off x="2771800" y="1916832"/>
            <a:ext cx="84045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Was heißt das nun?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dee: PowerShell </a:t>
            </a:r>
            <a:r>
              <a:rPr lang="de-DE" dirty="0" err="1" smtClean="0"/>
              <a:t>goes</a:t>
            </a:r>
            <a:r>
              <a:rPr lang="de-DE" dirty="0" smtClean="0"/>
              <a:t> Software Engineer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13</a:t>
            </a:fld>
            <a:endParaRPr lang="de-DE" dirty="0"/>
          </a:p>
        </p:txBody>
      </p:sp>
      <p:graphicFrame>
        <p:nvGraphicFramePr>
          <p:cNvPr id="11" name="Diagramm 10"/>
          <p:cNvGraphicFramePr/>
          <p:nvPr/>
        </p:nvGraphicFramePr>
        <p:xfrm>
          <a:off x="251520" y="1628800"/>
          <a:ext cx="2592288" cy="42642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3" name="Abgerundetes Rechteck 12"/>
          <p:cNvSpPr/>
          <p:nvPr/>
        </p:nvSpPr>
        <p:spPr>
          <a:xfrm>
            <a:off x="3651712" y="2348880"/>
            <a:ext cx="4364168" cy="3544168"/>
          </a:xfrm>
          <a:prstGeom prst="roundRect">
            <a:avLst>
              <a:gd name="adj" fmla="val 10000"/>
            </a:avLst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/>
          <a:lstStyle/>
          <a:p>
            <a:r>
              <a:rPr lang="de-DE" b="1" dirty="0" smtClean="0"/>
              <a:t>Top-Down Entwurf</a:t>
            </a:r>
          </a:p>
          <a:p>
            <a:pPr>
              <a:buFont typeface="Arial" pitchFamily="34" charset="0"/>
              <a:buChar char="•"/>
            </a:pPr>
            <a:r>
              <a:rPr lang="de-DE" b="1" dirty="0" smtClean="0"/>
              <a:t> </a:t>
            </a:r>
            <a:r>
              <a:rPr lang="de-DE" dirty="0" err="1" smtClean="0"/>
              <a:t>Highlevel</a:t>
            </a:r>
            <a:r>
              <a:rPr lang="de-DE" dirty="0" smtClean="0"/>
              <a:t> </a:t>
            </a:r>
            <a:r>
              <a:rPr lang="de-DE" dirty="0" err="1" smtClean="0"/>
              <a:t>Struktogram</a:t>
            </a:r>
            <a:r>
              <a:rPr lang="de-DE" dirty="0" smtClean="0"/>
              <a:t>/PAP</a:t>
            </a:r>
          </a:p>
          <a:p>
            <a:pPr>
              <a:buFont typeface="Arial" pitchFamily="34" charset="0"/>
              <a:buChar char="•"/>
            </a:pPr>
            <a:r>
              <a:rPr lang="de-DE" b="1" dirty="0" smtClean="0"/>
              <a:t> </a:t>
            </a:r>
            <a:r>
              <a:rPr lang="de-DE" dirty="0" smtClean="0"/>
              <a:t>Identifikation und </a:t>
            </a:r>
            <a:r>
              <a:rPr lang="de-DE" dirty="0" err="1" smtClean="0"/>
              <a:t>Clusterung</a:t>
            </a:r>
            <a:r>
              <a:rPr lang="de-DE" dirty="0" smtClean="0"/>
              <a:t> von benötigten Funktionen (allgemein, projektspezifisch, Themenbereiche)</a:t>
            </a:r>
          </a:p>
          <a:p>
            <a:pPr>
              <a:buFont typeface="Arial" pitchFamily="34" charset="0"/>
              <a:buChar char="•"/>
            </a:pPr>
            <a:endParaRPr lang="de-DE" b="1" dirty="0" smtClean="0"/>
          </a:p>
          <a:p>
            <a:pPr>
              <a:buFont typeface="Arial" pitchFamily="34" charset="0"/>
              <a:buChar char="•"/>
            </a:pPr>
            <a:endParaRPr lang="de-DE" b="1" dirty="0" smtClean="0"/>
          </a:p>
          <a:p>
            <a:pPr>
              <a:buFont typeface="Arial" pitchFamily="34" charset="0"/>
              <a:buChar char="•"/>
            </a:pPr>
            <a:r>
              <a:rPr lang="de-DE" dirty="0" smtClean="0"/>
              <a:t> evtl. bei großen Vorhaben Komponentendiagramm oder Objektdiagramm</a:t>
            </a:r>
            <a:endParaRPr lang="de-DE" dirty="0"/>
          </a:p>
        </p:txBody>
      </p:sp>
      <p:cxnSp>
        <p:nvCxnSpPr>
          <p:cNvPr id="17" name="Gerade Verbindung mit Pfeil 16"/>
          <p:cNvCxnSpPr/>
          <p:nvPr/>
        </p:nvCxnSpPr>
        <p:spPr>
          <a:xfrm>
            <a:off x="2771800" y="2852936"/>
            <a:ext cx="84045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Nach links gekrümmter Pfeil 15"/>
          <p:cNvSpPr/>
          <p:nvPr/>
        </p:nvSpPr>
        <p:spPr>
          <a:xfrm flipV="1">
            <a:off x="7524328" y="2636912"/>
            <a:ext cx="459002" cy="1296144"/>
          </a:xfrm>
          <a:prstGeom prst="curvedLef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8" name="Abgerundetes Rechteck 17"/>
          <p:cNvSpPr/>
          <p:nvPr/>
        </p:nvSpPr>
        <p:spPr>
          <a:xfrm>
            <a:off x="8015880" y="3140968"/>
            <a:ext cx="1020616" cy="360040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000" b="1" dirty="0" smtClean="0"/>
              <a:t>Verfeinerung</a:t>
            </a:r>
            <a:endParaRPr lang="de-DE" sz="1000" b="1" dirty="0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6" grpId="0" animBg="1"/>
      <p:bldP spid="18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Was heißt das nun?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dee: PowerShell </a:t>
            </a:r>
            <a:r>
              <a:rPr lang="de-DE" dirty="0" err="1" smtClean="0"/>
              <a:t>goes</a:t>
            </a:r>
            <a:r>
              <a:rPr lang="de-DE" dirty="0" smtClean="0"/>
              <a:t> Software Engineer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14</a:t>
            </a:fld>
            <a:endParaRPr lang="de-DE" dirty="0"/>
          </a:p>
        </p:txBody>
      </p:sp>
      <p:graphicFrame>
        <p:nvGraphicFramePr>
          <p:cNvPr id="11" name="Diagramm 10"/>
          <p:cNvGraphicFramePr/>
          <p:nvPr/>
        </p:nvGraphicFramePr>
        <p:xfrm>
          <a:off x="251520" y="1628800"/>
          <a:ext cx="2592288" cy="42642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3" name="Abgerundetes Rechteck 12"/>
          <p:cNvSpPr/>
          <p:nvPr/>
        </p:nvSpPr>
        <p:spPr>
          <a:xfrm>
            <a:off x="3651712" y="2348880"/>
            <a:ext cx="5240768" cy="3240360"/>
          </a:xfrm>
          <a:prstGeom prst="roundRect">
            <a:avLst>
              <a:gd name="adj" fmla="val 10000"/>
            </a:avLst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/>
          <a:lstStyle/>
          <a:p>
            <a:r>
              <a:rPr lang="de-DE" b="1" dirty="0" smtClean="0"/>
              <a:t>Tool-Unterstützung – Ziele </a:t>
            </a:r>
            <a:endParaRPr lang="de-DE" b="1" dirty="0" smtClean="0"/>
          </a:p>
          <a:p>
            <a:pPr>
              <a:buFont typeface="Arial" pitchFamily="34" charset="0"/>
              <a:buChar char="•"/>
            </a:pPr>
            <a:r>
              <a:rPr lang="de-DE" b="1" dirty="0" smtClean="0"/>
              <a:t> </a:t>
            </a:r>
            <a:r>
              <a:rPr lang="de-DE" dirty="0" smtClean="0"/>
              <a:t>Stabilität </a:t>
            </a:r>
            <a:r>
              <a:rPr lang="de-DE" dirty="0" smtClean="0"/>
              <a:t>des Betriebs</a:t>
            </a:r>
          </a:p>
          <a:p>
            <a:pPr>
              <a:buFont typeface="Arial" pitchFamily="34" charset="0"/>
              <a:buChar char="•"/>
            </a:pPr>
            <a:r>
              <a:rPr lang="de-DE" dirty="0" smtClean="0"/>
              <a:t> einheitlicher </a:t>
            </a:r>
            <a:r>
              <a:rPr lang="de-DE" dirty="0" smtClean="0"/>
              <a:t>Aufbau</a:t>
            </a:r>
          </a:p>
          <a:p>
            <a:pPr>
              <a:buFont typeface="Arial" pitchFamily="34" charset="0"/>
              <a:buChar char="•"/>
            </a:pPr>
            <a:r>
              <a:rPr lang="de-DE" dirty="0" smtClean="0"/>
              <a:t> erleichterte Wiederverwendbarkeit</a:t>
            </a:r>
          </a:p>
          <a:p>
            <a:pPr>
              <a:buFont typeface="Arial" pitchFamily="34" charset="0"/>
              <a:buChar char="•"/>
            </a:pPr>
            <a:r>
              <a:rPr lang="de-DE" dirty="0" smtClean="0"/>
              <a:t> erleichterte Strukturierungsmöglichkeiten</a:t>
            </a:r>
          </a:p>
          <a:p>
            <a:pPr>
              <a:buFont typeface="Arial" pitchFamily="34" charset="0"/>
              <a:buChar char="•"/>
            </a:pPr>
            <a:r>
              <a:rPr lang="de-DE" dirty="0" smtClean="0"/>
              <a:t> Unterstützung </a:t>
            </a:r>
            <a:r>
              <a:rPr lang="de-DE" dirty="0" smtClean="0"/>
              <a:t>bei der Dokumentierung</a:t>
            </a:r>
          </a:p>
          <a:p>
            <a:pPr>
              <a:buFont typeface="Arial" pitchFamily="34" charset="0"/>
              <a:buChar char="•"/>
            </a:pPr>
            <a:r>
              <a:rPr lang="de-DE" dirty="0" smtClean="0"/>
              <a:t> verbesserte </a:t>
            </a:r>
            <a:r>
              <a:rPr lang="de-DE" dirty="0" err="1" smtClean="0"/>
              <a:t>Wartbarkeit</a:t>
            </a:r>
            <a:endParaRPr lang="de-DE" dirty="0" smtClean="0"/>
          </a:p>
          <a:p>
            <a:pPr>
              <a:buFont typeface="Arial" pitchFamily="34" charset="0"/>
              <a:buChar char="•"/>
            </a:pPr>
            <a:r>
              <a:rPr lang="de-DE" dirty="0" smtClean="0"/>
              <a:t> höhere Qualität</a:t>
            </a:r>
          </a:p>
          <a:p>
            <a:pPr>
              <a:buFont typeface="Arial" pitchFamily="34" charset="0"/>
              <a:buChar char="•"/>
            </a:pPr>
            <a:r>
              <a:rPr lang="de-DE" dirty="0" smtClean="0"/>
              <a:t> Geschwindigkeitsvorteil bei Entwicklung und Wartung</a:t>
            </a:r>
          </a:p>
          <a:p>
            <a:pPr>
              <a:buFont typeface="Arial" pitchFamily="34" charset="0"/>
              <a:buChar char="•"/>
            </a:pPr>
            <a:r>
              <a:rPr lang="de-DE" dirty="0" smtClean="0"/>
              <a:t> einfaches </a:t>
            </a:r>
            <a:r>
              <a:rPr lang="de-DE" dirty="0" smtClean="0"/>
              <a:t>Handling/</a:t>
            </a:r>
            <a:r>
              <a:rPr lang="de-DE" dirty="0" err="1" smtClean="0"/>
              <a:t>Deployment</a:t>
            </a:r>
            <a:endParaRPr lang="de-DE" dirty="0" smtClean="0"/>
          </a:p>
        </p:txBody>
      </p:sp>
      <p:cxnSp>
        <p:nvCxnSpPr>
          <p:cNvPr id="17" name="Gerade Verbindung mit Pfeil 16"/>
          <p:cNvCxnSpPr/>
          <p:nvPr/>
        </p:nvCxnSpPr>
        <p:spPr>
          <a:xfrm>
            <a:off x="2771800" y="3717032"/>
            <a:ext cx="84045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/>
          <p:cNvCxnSpPr/>
          <p:nvPr/>
        </p:nvCxnSpPr>
        <p:spPr>
          <a:xfrm>
            <a:off x="2771800" y="4725144"/>
            <a:ext cx="84045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Abgerundetes Rechteck 16"/>
          <p:cNvSpPr/>
          <p:nvPr/>
        </p:nvSpPr>
        <p:spPr>
          <a:xfrm>
            <a:off x="611560" y="4653136"/>
            <a:ext cx="5904656" cy="1448544"/>
          </a:xfrm>
          <a:prstGeom prst="roundRect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de-DE" b="1" dirty="0" smtClean="0"/>
              <a:t>Gemeinsame Basis:</a:t>
            </a:r>
            <a:endParaRPr lang="de-DE" b="1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dee: PowerShell </a:t>
            </a:r>
            <a:r>
              <a:rPr lang="de-DE" dirty="0" err="1" smtClean="0"/>
              <a:t>goes</a:t>
            </a:r>
            <a:r>
              <a:rPr lang="de-DE" dirty="0" smtClean="0"/>
              <a:t> Software Engineer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8" name="Abgerundetes Rechteck 7"/>
          <p:cNvSpPr/>
          <p:nvPr/>
        </p:nvSpPr>
        <p:spPr>
          <a:xfrm>
            <a:off x="1088108" y="5085184"/>
            <a:ext cx="1008000" cy="576064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de-DE" dirty="0" smtClean="0"/>
              <a:t>Modul1</a:t>
            </a:r>
            <a:endParaRPr lang="de-DE" dirty="0"/>
          </a:p>
        </p:txBody>
      </p:sp>
      <p:sp>
        <p:nvSpPr>
          <p:cNvPr id="9" name="Abgerundetes Rechteck 8"/>
          <p:cNvSpPr/>
          <p:nvPr/>
        </p:nvSpPr>
        <p:spPr>
          <a:xfrm>
            <a:off x="2384364" y="5085184"/>
            <a:ext cx="1008000" cy="576064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de-DE" dirty="0" smtClean="0"/>
              <a:t>Modul2</a:t>
            </a:r>
            <a:endParaRPr lang="de-DE" dirty="0"/>
          </a:p>
        </p:txBody>
      </p:sp>
      <p:sp>
        <p:nvSpPr>
          <p:cNvPr id="10" name="Abgerundetes Rechteck 9"/>
          <p:cNvSpPr/>
          <p:nvPr/>
        </p:nvSpPr>
        <p:spPr>
          <a:xfrm>
            <a:off x="3608500" y="5085184"/>
            <a:ext cx="1008000" cy="576064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de-DE" dirty="0" smtClean="0"/>
              <a:t>Modul3</a:t>
            </a:r>
            <a:endParaRPr lang="de-DE" dirty="0"/>
          </a:p>
        </p:txBody>
      </p:sp>
      <p:sp>
        <p:nvSpPr>
          <p:cNvPr id="11" name="Abgerundetes Rechteck 10"/>
          <p:cNvSpPr/>
          <p:nvPr/>
        </p:nvSpPr>
        <p:spPr>
          <a:xfrm>
            <a:off x="4832636" y="5085184"/>
            <a:ext cx="1008000" cy="576064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de-DE" dirty="0" smtClean="0"/>
              <a:t>Modul4</a:t>
            </a:r>
            <a:endParaRPr lang="de-DE" dirty="0"/>
          </a:p>
        </p:txBody>
      </p:sp>
      <p:sp>
        <p:nvSpPr>
          <p:cNvPr id="16" name="Abgerundetes Rechteck 15"/>
          <p:cNvSpPr/>
          <p:nvPr/>
        </p:nvSpPr>
        <p:spPr>
          <a:xfrm>
            <a:off x="611560" y="1412062"/>
            <a:ext cx="5904656" cy="2952328"/>
          </a:xfrm>
          <a:prstGeom prst="roundRect">
            <a:avLst/>
          </a:prstGeom>
          <a:ln w="38100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de-DE" b="1" dirty="0" smtClean="0"/>
              <a:t>Projekt:</a:t>
            </a:r>
            <a:endParaRPr lang="de-DE" b="1" dirty="0"/>
          </a:p>
        </p:txBody>
      </p:sp>
      <p:sp>
        <p:nvSpPr>
          <p:cNvPr id="18" name="Abgerundetes Rechteck 17"/>
          <p:cNvSpPr/>
          <p:nvPr/>
        </p:nvSpPr>
        <p:spPr>
          <a:xfrm>
            <a:off x="763960" y="3356992"/>
            <a:ext cx="5516318" cy="872480"/>
          </a:xfrm>
          <a:prstGeom prst="roundRect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endParaRPr lang="de-DE" b="1" dirty="0"/>
          </a:p>
        </p:txBody>
      </p:sp>
      <p:sp>
        <p:nvSpPr>
          <p:cNvPr id="19" name="Abgerundetes Rechteck 18"/>
          <p:cNvSpPr/>
          <p:nvPr/>
        </p:nvSpPr>
        <p:spPr>
          <a:xfrm>
            <a:off x="1088108" y="5085184"/>
            <a:ext cx="1008000" cy="576064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de-DE" dirty="0" smtClean="0"/>
              <a:t>Modul1</a:t>
            </a:r>
            <a:endParaRPr lang="de-DE" dirty="0"/>
          </a:p>
        </p:txBody>
      </p:sp>
      <p:sp>
        <p:nvSpPr>
          <p:cNvPr id="20" name="Abgerundetes Rechteck 19"/>
          <p:cNvSpPr/>
          <p:nvPr/>
        </p:nvSpPr>
        <p:spPr>
          <a:xfrm>
            <a:off x="3608500" y="5085184"/>
            <a:ext cx="1008000" cy="576064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de-DE" dirty="0" smtClean="0"/>
              <a:t>Modul3</a:t>
            </a:r>
            <a:endParaRPr lang="de-DE" dirty="0"/>
          </a:p>
        </p:txBody>
      </p:sp>
      <p:sp>
        <p:nvSpPr>
          <p:cNvPr id="21" name="Abgerundetes Rechteck 20"/>
          <p:cNvSpPr/>
          <p:nvPr/>
        </p:nvSpPr>
        <p:spPr>
          <a:xfrm>
            <a:off x="1818882" y="1988840"/>
            <a:ext cx="1260000" cy="36004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Start.ps1</a:t>
            </a:r>
            <a:endParaRPr lang="de-DE" dirty="0"/>
          </a:p>
        </p:txBody>
      </p:sp>
      <p:sp>
        <p:nvSpPr>
          <p:cNvPr id="23" name="Abgerundetes Rechteck 22"/>
          <p:cNvSpPr/>
          <p:nvPr/>
        </p:nvSpPr>
        <p:spPr>
          <a:xfrm>
            <a:off x="2762364" y="2708920"/>
            <a:ext cx="1260000" cy="36004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lass.ps1</a:t>
            </a:r>
            <a:endParaRPr lang="de-DE" dirty="0"/>
          </a:p>
        </p:txBody>
      </p:sp>
      <p:sp>
        <p:nvSpPr>
          <p:cNvPr id="24" name="Rechteck 23"/>
          <p:cNvSpPr/>
          <p:nvPr/>
        </p:nvSpPr>
        <p:spPr>
          <a:xfrm>
            <a:off x="6732240" y="1772816"/>
            <a:ext cx="2160240" cy="403244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DE" sz="1400" dirty="0" smtClean="0"/>
              <a:t>Ziele:</a:t>
            </a:r>
          </a:p>
          <a:p>
            <a:r>
              <a:rPr lang="de-DE" sz="1400" dirty="0" smtClean="0"/>
              <a:t> </a:t>
            </a:r>
          </a:p>
          <a:p>
            <a:pPr>
              <a:buFont typeface="Arial" pitchFamily="34" charset="0"/>
              <a:buChar char="•"/>
            </a:pPr>
            <a:r>
              <a:rPr lang="de-DE" sz="1400" dirty="0" smtClean="0"/>
              <a:t> Stabilität des Betriebs</a:t>
            </a:r>
          </a:p>
          <a:p>
            <a:pPr>
              <a:buFont typeface="Arial" pitchFamily="34" charset="0"/>
              <a:buChar char="•"/>
            </a:pPr>
            <a:r>
              <a:rPr lang="de-DE" sz="1400" dirty="0" smtClean="0"/>
              <a:t>einheitlicher Aufbau</a:t>
            </a:r>
          </a:p>
          <a:p>
            <a:pPr>
              <a:buFont typeface="Arial" pitchFamily="34" charset="0"/>
              <a:buChar char="•"/>
            </a:pPr>
            <a:r>
              <a:rPr lang="de-DE" sz="1400" dirty="0" smtClean="0"/>
              <a:t> erleichterte Wiederverwendbarkeit</a:t>
            </a:r>
          </a:p>
          <a:p>
            <a:pPr>
              <a:buFont typeface="Arial" pitchFamily="34" charset="0"/>
              <a:buChar char="•"/>
            </a:pPr>
            <a:r>
              <a:rPr lang="de-DE" sz="1400" dirty="0" smtClean="0"/>
              <a:t> erleichterte Strukturierungsmöglichkeiten</a:t>
            </a:r>
          </a:p>
          <a:p>
            <a:pPr>
              <a:buFont typeface="Arial" pitchFamily="34" charset="0"/>
              <a:buChar char="•"/>
            </a:pPr>
            <a:r>
              <a:rPr lang="de-DE" sz="1400" dirty="0" smtClean="0"/>
              <a:t>Unterstützung bei der Dokumentierung</a:t>
            </a:r>
          </a:p>
          <a:p>
            <a:pPr>
              <a:buFont typeface="Arial" pitchFamily="34" charset="0"/>
              <a:buChar char="•"/>
            </a:pPr>
            <a:r>
              <a:rPr lang="de-DE" sz="1400" dirty="0" smtClean="0"/>
              <a:t> verbesserte </a:t>
            </a:r>
            <a:r>
              <a:rPr lang="de-DE" sz="1400" dirty="0" err="1" smtClean="0"/>
              <a:t>Wartbarkeit</a:t>
            </a:r>
            <a:endParaRPr lang="de-DE" sz="1400" dirty="0" smtClean="0"/>
          </a:p>
          <a:p>
            <a:pPr>
              <a:buFont typeface="Arial" pitchFamily="34" charset="0"/>
              <a:buChar char="•"/>
            </a:pPr>
            <a:r>
              <a:rPr lang="de-DE" sz="1400" dirty="0" smtClean="0"/>
              <a:t> höhere Qualität</a:t>
            </a:r>
          </a:p>
          <a:p>
            <a:pPr>
              <a:buFont typeface="Arial" pitchFamily="34" charset="0"/>
              <a:buChar char="•"/>
            </a:pPr>
            <a:r>
              <a:rPr lang="de-DE" sz="1400" dirty="0" smtClean="0"/>
              <a:t> Geschwindigkeitsvorteil bei Entwicklung und Wartung</a:t>
            </a:r>
          </a:p>
          <a:p>
            <a:pPr>
              <a:buFont typeface="Arial" pitchFamily="34" charset="0"/>
              <a:buChar char="•"/>
            </a:pPr>
            <a:r>
              <a:rPr lang="de-DE" sz="1400" dirty="0" smtClean="0"/>
              <a:t>einfaches Handling/</a:t>
            </a:r>
            <a:r>
              <a:rPr lang="de-DE" sz="1400" dirty="0" err="1" smtClean="0"/>
              <a:t>Deployment</a:t>
            </a:r>
            <a:endParaRPr lang="de-DE" sz="1400" dirty="0" smtClean="0"/>
          </a:p>
          <a:p>
            <a:pPr>
              <a:buFont typeface="Arial" pitchFamily="34" charset="0"/>
              <a:buChar char="•"/>
            </a:pPr>
            <a:endParaRPr lang="de-DE" sz="1400" dirty="0" smtClean="0"/>
          </a:p>
          <a:p>
            <a:endParaRPr lang="de-DE" sz="1400" dirty="0"/>
          </a:p>
        </p:txBody>
      </p:sp>
      <p:sp>
        <p:nvSpPr>
          <p:cNvPr id="26" name="Abgerundetes Rechteck 25"/>
          <p:cNvSpPr/>
          <p:nvPr/>
        </p:nvSpPr>
        <p:spPr>
          <a:xfrm>
            <a:off x="916360" y="2528900"/>
            <a:ext cx="1260000" cy="36004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Skript.ps1</a:t>
            </a:r>
            <a:endParaRPr lang="de-DE" dirty="0"/>
          </a:p>
        </p:txBody>
      </p:sp>
      <p:sp>
        <p:nvSpPr>
          <p:cNvPr id="22" name="Abgerundetes Rechteck 21"/>
          <p:cNvSpPr/>
          <p:nvPr/>
        </p:nvSpPr>
        <p:spPr>
          <a:xfrm>
            <a:off x="763960" y="2708920"/>
            <a:ext cx="1260000" cy="36004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Skript.ps1</a:t>
            </a:r>
            <a:endParaRPr lang="de-DE" dirty="0"/>
          </a:p>
        </p:txBody>
      </p:sp>
      <p:sp>
        <p:nvSpPr>
          <p:cNvPr id="27" name="Ellipse 26"/>
          <p:cNvSpPr/>
          <p:nvPr/>
        </p:nvSpPr>
        <p:spPr>
          <a:xfrm>
            <a:off x="2267744" y="2708920"/>
            <a:ext cx="360040" cy="360040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9" name="Gerade Verbindung mit Pfeil 28"/>
          <p:cNvCxnSpPr/>
          <p:nvPr/>
        </p:nvCxnSpPr>
        <p:spPr>
          <a:xfrm flipH="1" flipV="1">
            <a:off x="2447764" y="2348880"/>
            <a:ext cx="1118" cy="36004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/>
          <p:cNvCxnSpPr>
            <a:stCxn id="22" idx="3"/>
            <a:endCxn id="27" idx="2"/>
          </p:cNvCxnSpPr>
          <p:nvPr/>
        </p:nvCxnSpPr>
        <p:spPr>
          <a:xfrm>
            <a:off x="2023960" y="2888940"/>
            <a:ext cx="24378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/>
          <p:cNvCxnSpPr>
            <a:stCxn id="26" idx="3"/>
            <a:endCxn id="27" idx="1"/>
          </p:cNvCxnSpPr>
          <p:nvPr/>
        </p:nvCxnSpPr>
        <p:spPr>
          <a:xfrm>
            <a:off x="2176360" y="2708920"/>
            <a:ext cx="144111" cy="5272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>
            <a:endCxn id="27" idx="4"/>
          </p:cNvCxnSpPr>
          <p:nvPr/>
        </p:nvCxnSpPr>
        <p:spPr>
          <a:xfrm flipV="1">
            <a:off x="2447764" y="3068960"/>
            <a:ext cx="0" cy="28803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/>
          <p:cNvCxnSpPr>
            <a:stCxn id="23" idx="1"/>
            <a:endCxn id="27" idx="6"/>
          </p:cNvCxnSpPr>
          <p:nvPr/>
        </p:nvCxnSpPr>
        <p:spPr>
          <a:xfrm flipH="1">
            <a:off x="2627784" y="2888940"/>
            <a:ext cx="13458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Abgerundetes Rechteck 38"/>
          <p:cNvSpPr/>
          <p:nvPr/>
        </p:nvSpPr>
        <p:spPr>
          <a:xfrm>
            <a:off x="4616500" y="1988840"/>
            <a:ext cx="1296144" cy="772807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600" dirty="0" smtClean="0"/>
              <a:t>Generierte Test-Stümpfe</a:t>
            </a:r>
            <a:endParaRPr lang="de-DE" sz="1600" dirty="0"/>
          </a:p>
        </p:txBody>
      </p:sp>
      <p:sp>
        <p:nvSpPr>
          <p:cNvPr id="41" name="Abgerundetes Rechteck 40"/>
          <p:cNvSpPr/>
          <p:nvPr/>
        </p:nvSpPr>
        <p:spPr>
          <a:xfrm>
            <a:off x="1088108" y="5085184"/>
            <a:ext cx="1008000" cy="576064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Modul1</a:t>
            </a:r>
            <a:br>
              <a:rPr lang="de-DE" dirty="0" smtClean="0"/>
            </a:br>
            <a:r>
              <a:rPr lang="de-DE" dirty="0" smtClean="0"/>
              <a:t>v2</a:t>
            </a:r>
            <a:endParaRPr lang="de-DE" dirty="0"/>
          </a:p>
        </p:txBody>
      </p:sp>
      <p:sp>
        <p:nvSpPr>
          <p:cNvPr id="42" name="Abgerundetes Rechteck 41"/>
          <p:cNvSpPr/>
          <p:nvPr/>
        </p:nvSpPr>
        <p:spPr>
          <a:xfrm>
            <a:off x="611560" y="1412062"/>
            <a:ext cx="5904656" cy="2952328"/>
          </a:xfrm>
          <a:prstGeom prst="roundRect">
            <a:avLst/>
          </a:prstGeom>
          <a:ln w="38100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de-DE" b="1" dirty="0" smtClean="0"/>
              <a:t>Projekt.ps1</a:t>
            </a:r>
          </a:p>
          <a:p>
            <a:endParaRPr lang="de-DE" b="1" dirty="0" smtClean="0"/>
          </a:p>
          <a:p>
            <a:r>
              <a:rPr lang="de-DE" dirty="0" smtClean="0"/>
              <a:t>Automatisch generierte Skript-Datei mit allen aufgerufenen Funktionen aus Modulen und Unterskripten</a:t>
            </a:r>
            <a:endParaRPr lang="de-DE" dirty="0"/>
          </a:p>
        </p:txBody>
      </p:sp>
      <p:sp>
        <p:nvSpPr>
          <p:cNvPr id="30" name="Abgerundetes Rechteck 29"/>
          <p:cNvSpPr/>
          <p:nvPr/>
        </p:nvSpPr>
        <p:spPr>
          <a:xfrm>
            <a:off x="2450000" y="5445224"/>
            <a:ext cx="312364" cy="144016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5" name="Abgerundetes Rechteck 34"/>
          <p:cNvSpPr/>
          <p:nvPr/>
        </p:nvSpPr>
        <p:spPr>
          <a:xfrm>
            <a:off x="2891484" y="5445224"/>
            <a:ext cx="312364" cy="144016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7" name="Abgerundetes Rechteck 36"/>
          <p:cNvSpPr/>
          <p:nvPr/>
        </p:nvSpPr>
        <p:spPr>
          <a:xfrm>
            <a:off x="3866182" y="5453608"/>
            <a:ext cx="312364" cy="144016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0" name="Abgerundetes Rechteck 39"/>
          <p:cNvSpPr/>
          <p:nvPr/>
        </p:nvSpPr>
        <p:spPr>
          <a:xfrm>
            <a:off x="4907708" y="5445224"/>
            <a:ext cx="312364" cy="144016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3" name="Abgerundetes Rechteck 42"/>
          <p:cNvSpPr/>
          <p:nvPr/>
        </p:nvSpPr>
        <p:spPr>
          <a:xfrm>
            <a:off x="5364088" y="5453608"/>
            <a:ext cx="312364" cy="144016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4" name="Abgerundetes Rechteck 43"/>
          <p:cNvSpPr/>
          <p:nvPr/>
        </p:nvSpPr>
        <p:spPr>
          <a:xfrm>
            <a:off x="1331640" y="5445224"/>
            <a:ext cx="312364" cy="144016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4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-3.33333E-6 L 1.66667E-6 -0.22037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64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-3.33333E-6 L -2.77778E-6 -0.22037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64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-3.33333E-6 L 1.66667E-6 -0.22037 " pathEditMode="relative" rAng="0" ptsTypes="AA">
                                      <p:cBhvr>
                                        <p:cTn id="64" dur="2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  <p:bldP spid="23" grpId="0" animBg="1"/>
      <p:bldP spid="26" grpId="0" animBg="1"/>
      <p:bldP spid="22" grpId="0" animBg="1"/>
      <p:bldP spid="27" grpId="0" animBg="1"/>
      <p:bldP spid="39" grpId="0" animBg="1"/>
      <p:bldP spid="41" grpId="0" animBg="1"/>
      <p:bldP spid="41" grpId="1" animBg="1"/>
      <p:bldP spid="42" grpId="0" animBg="1"/>
      <p:bldP spid="30" grpId="0" animBg="1"/>
      <p:bldP spid="35" grpId="0" animBg="1"/>
      <p:bldP spid="37" grpId="0" animBg="1"/>
      <p:bldP spid="40" grpId="0" animBg="1"/>
      <p:bldP spid="43" grpId="0" animBg="1"/>
      <p:bldP spid="44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Was heißt das nun?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dee: PowerShell </a:t>
            </a:r>
            <a:r>
              <a:rPr lang="de-DE" dirty="0" err="1" smtClean="0"/>
              <a:t>goes</a:t>
            </a:r>
            <a:r>
              <a:rPr lang="de-DE" dirty="0" smtClean="0"/>
              <a:t> Software Engineer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16</a:t>
            </a:fld>
            <a:endParaRPr lang="de-DE" dirty="0"/>
          </a:p>
        </p:txBody>
      </p:sp>
      <p:graphicFrame>
        <p:nvGraphicFramePr>
          <p:cNvPr id="11" name="Diagramm 10"/>
          <p:cNvGraphicFramePr/>
          <p:nvPr/>
        </p:nvGraphicFramePr>
        <p:xfrm>
          <a:off x="251520" y="1628800"/>
          <a:ext cx="2592288" cy="42642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3" name="Abgerundetes Rechteck 12"/>
          <p:cNvSpPr/>
          <p:nvPr/>
        </p:nvSpPr>
        <p:spPr>
          <a:xfrm>
            <a:off x="3651712" y="4797152"/>
            <a:ext cx="4364168" cy="1095896"/>
          </a:xfrm>
          <a:prstGeom prst="roundRect">
            <a:avLst>
              <a:gd name="adj" fmla="val 10000"/>
            </a:avLst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/>
          <a:lstStyle/>
          <a:p>
            <a:r>
              <a:rPr lang="de-DE" b="1" dirty="0" smtClean="0"/>
              <a:t>Etablierung eines </a:t>
            </a:r>
            <a:r>
              <a:rPr lang="de-DE" b="1" dirty="0" err="1" smtClean="0"/>
              <a:t>Deploymentprozess</a:t>
            </a:r>
            <a:r>
              <a:rPr lang="de-DE" b="1" dirty="0" smtClean="0"/>
              <a:t> </a:t>
            </a:r>
            <a:r>
              <a:rPr lang="de-DE" dirty="0" smtClean="0"/>
              <a:t>(z.B. über </a:t>
            </a:r>
            <a:r>
              <a:rPr lang="de-DE" dirty="0" err="1" smtClean="0"/>
              <a:t>Automic</a:t>
            </a:r>
            <a:r>
              <a:rPr lang="de-DE" dirty="0" smtClean="0"/>
              <a:t> UC4)</a:t>
            </a:r>
            <a:endParaRPr lang="de-DE" b="1" dirty="0" smtClean="0"/>
          </a:p>
        </p:txBody>
      </p:sp>
      <p:cxnSp>
        <p:nvCxnSpPr>
          <p:cNvPr id="12" name="Gerade Verbindung mit Pfeil 11"/>
          <p:cNvCxnSpPr/>
          <p:nvPr/>
        </p:nvCxnSpPr>
        <p:spPr>
          <a:xfrm>
            <a:off x="2771800" y="5589240"/>
            <a:ext cx="84045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A0509A"/>
                </a:solidFill>
              </a:rPr>
              <a:t>PowerShell goes Software Engineering  |  1.0 |  22.04.2016</a:t>
            </a:r>
            <a:endParaRPr lang="de-DE" dirty="0" smtClean="0">
              <a:solidFill>
                <a:srgbClr val="A0509A"/>
              </a:solidFill>
            </a:endParaRPr>
          </a:p>
        </p:txBody>
      </p:sp>
      <p:sp>
        <p:nvSpPr>
          <p:cNvPr id="9" name="TextBox 6"/>
          <p:cNvSpPr txBox="1"/>
          <p:nvPr>
            <p:custDataLst>
              <p:tags r:id="rId2"/>
            </p:custDataLst>
          </p:nvPr>
        </p:nvSpPr>
        <p:spPr>
          <a:xfrm>
            <a:off x="463763" y="463549"/>
            <a:ext cx="8208145" cy="4714737"/>
          </a:xfrm>
          <a:prstGeom prst="rect">
            <a:avLst/>
          </a:prstGeom>
          <a:noFill/>
        </p:spPr>
        <p:txBody>
          <a:bodyPr wrap="square" lIns="0" tIns="0" rIns="0" bIns="0" rtlCol="0" anchor="ctr">
            <a:normAutofit fontScale="92500"/>
          </a:bodyPr>
          <a:lstStyle/>
          <a:p>
            <a:pPr algn="ctr"/>
            <a:r>
              <a:rPr lang="de-DE" sz="25000" b="1" dirty="0" smtClean="0">
                <a:solidFill>
                  <a:srgbClr val="A0509A"/>
                </a:solidFill>
              </a:rPr>
              <a:t>Demo</a:t>
            </a:r>
            <a:endParaRPr lang="de-DE" sz="25000" b="1" dirty="0">
              <a:solidFill>
                <a:srgbClr val="A0509A"/>
              </a:solidFill>
            </a:endParaRPr>
          </a:p>
        </p:txBody>
      </p:sp>
      <p:sp>
        <p:nvSpPr>
          <p:cNvPr id="10" name="TextBox 7"/>
          <p:cNvSpPr txBox="1"/>
          <p:nvPr/>
        </p:nvSpPr>
        <p:spPr>
          <a:xfrm>
            <a:off x="463763" y="5300663"/>
            <a:ext cx="8208145" cy="8286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600" dirty="0">
                <a:solidFill>
                  <a:srgbClr val="A0509A"/>
                </a:solidFill>
              </a:rPr>
              <a:t>Was ist denn genau mit diesem </a:t>
            </a:r>
            <a:r>
              <a:rPr lang="de-DE" sz="1600" dirty="0" err="1">
                <a:solidFill>
                  <a:srgbClr val="A0509A"/>
                </a:solidFill>
              </a:rPr>
              <a:t>Assisted</a:t>
            </a:r>
            <a:r>
              <a:rPr lang="de-DE" sz="1600" dirty="0">
                <a:solidFill>
                  <a:srgbClr val="A0509A"/>
                </a:solidFill>
              </a:rPr>
              <a:t>/</a:t>
            </a:r>
            <a:r>
              <a:rPr lang="de-DE" sz="1600" dirty="0" err="1">
                <a:solidFill>
                  <a:srgbClr val="A0509A"/>
                </a:solidFill>
              </a:rPr>
              <a:t>Guided</a:t>
            </a:r>
            <a:r>
              <a:rPr lang="de-DE" sz="1600" dirty="0">
                <a:solidFill>
                  <a:srgbClr val="A0509A"/>
                </a:solidFill>
              </a:rPr>
              <a:t> </a:t>
            </a:r>
            <a:br>
              <a:rPr lang="de-DE" sz="1600" dirty="0">
                <a:solidFill>
                  <a:srgbClr val="A0509A"/>
                </a:solidFill>
              </a:rPr>
            </a:br>
            <a:r>
              <a:rPr lang="de-DE" sz="1600" dirty="0" smtClean="0">
                <a:solidFill>
                  <a:srgbClr val="A0509A"/>
                </a:solidFill>
              </a:rPr>
              <a:t>Scripting gemeint?</a:t>
            </a:r>
            <a:endParaRPr lang="de-DE" sz="1600" dirty="0">
              <a:solidFill>
                <a:srgbClr val="A0509A"/>
              </a:solidFill>
            </a:endParaRPr>
          </a:p>
          <a:p>
            <a:pPr algn="ctr"/>
            <a:endParaRPr lang="de-DE" sz="1600" dirty="0">
              <a:solidFill>
                <a:srgbClr val="A0509A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17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9794073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1039037" y="2528029"/>
            <a:ext cx="762272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An dieser Stelle folgt in dem Vortrag eine Live-Demo innerhalb der</a:t>
            </a:r>
          </a:p>
          <a:p>
            <a:r>
              <a:rPr lang="de-DE" dirty="0" err="1" smtClean="0"/>
              <a:t>PowerShell</a:t>
            </a:r>
            <a:r>
              <a:rPr lang="de-DE" dirty="0" smtClean="0"/>
              <a:t> ISE… für eine bessere Vorstellung beim Ansehen der Folien </a:t>
            </a:r>
            <a:br>
              <a:rPr lang="de-DE" dirty="0" smtClean="0"/>
            </a:br>
            <a:r>
              <a:rPr lang="de-DE" dirty="0" smtClean="0"/>
              <a:t>gibt es an dieser Stelle ein paar Screenshots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04" y="384423"/>
            <a:ext cx="8892480" cy="5750613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746" y="396667"/>
            <a:ext cx="8891624" cy="5726206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746" y="351012"/>
            <a:ext cx="8959279" cy="5817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821475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56BC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TextBox 6"/>
          <p:cNvSpPr txBox="1"/>
          <p:nvPr>
            <p:custDataLst>
              <p:tags r:id="rId2"/>
            </p:custDataLst>
          </p:nvPr>
        </p:nvSpPr>
        <p:spPr>
          <a:xfrm>
            <a:off x="463763" y="463549"/>
            <a:ext cx="8208145" cy="4714737"/>
          </a:xfrm>
          <a:prstGeom prst="rect">
            <a:avLst/>
          </a:prstGeom>
          <a:noFill/>
        </p:spPr>
        <p:txBody>
          <a:bodyPr wrap="square" lIns="0" tIns="0" rIns="0" bIns="0" rtlCol="0" anchor="ctr">
            <a:normAutofit fontScale="55000" lnSpcReduction="20000"/>
          </a:bodyPr>
          <a:lstStyle/>
          <a:p>
            <a:pPr algn="ctr"/>
            <a:r>
              <a:rPr lang="de-DE" sz="25000" b="1" dirty="0" err="1">
                <a:solidFill>
                  <a:schemeClr val="accent3"/>
                </a:solidFill>
              </a:rPr>
              <a:t>Familiy</a:t>
            </a:r>
            <a:r>
              <a:rPr lang="de-DE" sz="25000" b="1" dirty="0">
                <a:solidFill>
                  <a:schemeClr val="accent3"/>
                </a:solidFill>
              </a:rPr>
              <a:t> Summary</a:t>
            </a:r>
            <a:endParaRPr lang="de-DE" sz="25000" b="1" dirty="0">
              <a:solidFill>
                <a:srgbClr val="D10A45"/>
              </a:solidFill>
            </a:endParaRPr>
          </a:p>
        </p:txBody>
      </p:sp>
      <p:sp>
        <p:nvSpPr>
          <p:cNvPr id="10" name="TextBox 7"/>
          <p:cNvSpPr txBox="1"/>
          <p:nvPr/>
        </p:nvSpPr>
        <p:spPr>
          <a:xfrm>
            <a:off x="463763" y="5300663"/>
            <a:ext cx="8208145" cy="8286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sz="2000" dirty="0">
                <a:solidFill>
                  <a:schemeClr val="accent3"/>
                </a:solidFill>
              </a:rPr>
              <a:t>Abstract / Management Summary mal etwas anders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19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490574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Einordnung </a:t>
            </a:r>
            <a:r>
              <a:rPr lang="de-DE" dirty="0" smtClean="0"/>
              <a:t>– Was dieser Vortrag sein soll und was nicht</a:t>
            </a:r>
          </a:p>
          <a:p>
            <a:r>
              <a:rPr lang="de-DE" dirty="0" smtClean="0"/>
              <a:t>Hintergrund </a:t>
            </a:r>
            <a:r>
              <a:rPr lang="de-DE" dirty="0" smtClean="0"/>
              <a:t>– PowerShell und Skriptentwicklung</a:t>
            </a:r>
          </a:p>
          <a:p>
            <a:r>
              <a:rPr lang="de-DE" dirty="0" smtClean="0"/>
              <a:t>PowerShell </a:t>
            </a:r>
            <a:r>
              <a:rPr lang="de-DE" dirty="0" err="1" smtClean="0"/>
              <a:t>goes</a:t>
            </a:r>
            <a:r>
              <a:rPr lang="de-DE" dirty="0" smtClean="0"/>
              <a:t> Software </a:t>
            </a:r>
            <a:r>
              <a:rPr lang="de-DE" dirty="0" smtClean="0"/>
              <a:t>Engineering</a:t>
            </a:r>
            <a:endParaRPr lang="de-DE" dirty="0" smtClean="0"/>
          </a:p>
          <a:p>
            <a:r>
              <a:rPr lang="de-DE" dirty="0" smtClean="0"/>
              <a:t>Demo</a:t>
            </a:r>
          </a:p>
          <a:p>
            <a:r>
              <a:rPr lang="de-DE" dirty="0"/>
              <a:t>Family </a:t>
            </a:r>
            <a:r>
              <a:rPr lang="de-DE"/>
              <a:t>Summary </a:t>
            </a:r>
            <a:endParaRPr lang="de-DE" smtClean="0"/>
          </a:p>
          <a:p>
            <a:r>
              <a:rPr lang="de-DE" smtClean="0"/>
              <a:t>Abschließende </a:t>
            </a:r>
            <a:r>
              <a:rPr lang="de-DE" dirty="0" smtClean="0"/>
              <a:t>Diskussion / Feedback </a:t>
            </a:r>
            <a:r>
              <a:rPr lang="de-DE" dirty="0" smtClean="0">
                <a:sym typeface="Wingdings" pitchFamily="2" charset="2"/>
              </a:rPr>
              <a:t>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Inhaltsverzeichnis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owerShell goes Software Engineering  |  1.0 |  22.04.2016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2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672219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Abstract / Management </a:t>
            </a:r>
            <a:r>
              <a:rPr lang="de-DE" dirty="0" err="1" smtClean="0"/>
              <a:t>Summary</a:t>
            </a:r>
            <a:r>
              <a:rPr lang="de-DE" dirty="0" smtClean="0"/>
              <a:t> mal etwas anders.</a:t>
            </a:r>
          </a:p>
          <a:p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Familiy</a:t>
            </a:r>
            <a:r>
              <a:rPr lang="de-DE" dirty="0" smtClean="0"/>
              <a:t> </a:t>
            </a:r>
            <a:r>
              <a:rPr lang="de-DE" dirty="0" err="1" smtClean="0"/>
              <a:t>Summary</a:t>
            </a:r>
            <a:endParaRPr lang="de-DE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20</a:t>
            </a:fld>
            <a:endParaRPr lang="de-DE" dirty="0"/>
          </a:p>
        </p:txBody>
      </p:sp>
      <p:pic>
        <p:nvPicPr>
          <p:cNvPr id="27650" name="Picture 2" descr="https://markenportal.fiduciagad.de/content/f8998-2/internetneu_4/website/download-center/_jcr_content/parsys/bildergalerie/parsys/bild_15/bildsub.img.png/1436961645422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345634" y="1470143"/>
            <a:ext cx="4765876" cy="4765876"/>
          </a:xfrm>
          <a:prstGeom prst="rect">
            <a:avLst/>
          </a:prstGeom>
          <a:noFill/>
        </p:spPr>
      </p:pic>
      <p:pic>
        <p:nvPicPr>
          <p:cNvPr id="27652" name="Picture 4" descr="http://unidaz.de/wp-content/uploads/2011/09/Fotolia_30604804_M-1024x682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96478" y="1916832"/>
            <a:ext cx="5515032" cy="3673098"/>
          </a:xfrm>
          <a:prstGeom prst="rect">
            <a:avLst/>
          </a:prstGeom>
          <a:noFill/>
        </p:spPr>
      </p:pic>
      <p:sp>
        <p:nvSpPr>
          <p:cNvPr id="13" name="Textfeld 12"/>
          <p:cNvSpPr txBox="1"/>
          <p:nvPr/>
        </p:nvSpPr>
        <p:spPr>
          <a:xfrm>
            <a:off x="2123728" y="5692606"/>
            <a:ext cx="4019114" cy="369332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de-DE" dirty="0" smtClean="0"/>
              <a:t>Vom Rezeptstapel zum Rezeptordner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75634566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76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Fragen, Anregungen, Diskussion… </a:t>
            </a:r>
            <a:r>
              <a:rPr lang="de-DE" dirty="0" smtClean="0">
                <a:sym typeface="Wingdings" panose="05000000000000000000" pitchFamily="2" charset="2"/>
              </a:rPr>
              <a:t></a:t>
            </a:r>
            <a:endParaRPr lang="de-DE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endParaRPr lang="de-DE" dirty="0">
              <a:solidFill>
                <a:srgbClr val="7F7F7F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4291871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D10A45"/>
                </a:solidFill>
              </a:rPr>
              <a:t>PowerShell goes Software Engineering  |  1.0 |  22.04.2016</a:t>
            </a:r>
            <a:endParaRPr lang="de-DE" dirty="0" smtClean="0">
              <a:solidFill>
                <a:srgbClr val="D10A45"/>
              </a:solidFill>
            </a:endParaRPr>
          </a:p>
        </p:txBody>
      </p:sp>
      <p:sp>
        <p:nvSpPr>
          <p:cNvPr id="9" name="TextBox 6"/>
          <p:cNvSpPr txBox="1"/>
          <p:nvPr>
            <p:custDataLst>
              <p:tags r:id="rId2"/>
            </p:custDataLst>
          </p:nvPr>
        </p:nvSpPr>
        <p:spPr>
          <a:xfrm>
            <a:off x="463763" y="463549"/>
            <a:ext cx="8208145" cy="4714737"/>
          </a:xfrm>
          <a:prstGeom prst="rect">
            <a:avLst/>
          </a:prstGeom>
          <a:noFill/>
        </p:spPr>
        <p:txBody>
          <a:bodyPr wrap="square" lIns="0" tIns="0" rIns="0" bIns="0" rtlCol="0" anchor="ctr">
            <a:normAutofit fontScale="47500" lnSpcReduction="20000"/>
          </a:bodyPr>
          <a:lstStyle/>
          <a:p>
            <a:pPr algn="ctr"/>
            <a:r>
              <a:rPr lang="de-DE" sz="25000" b="1" dirty="0" smtClean="0">
                <a:solidFill>
                  <a:srgbClr val="D10A45"/>
                </a:solidFill>
              </a:rPr>
              <a:t>Kurze Vorstellung</a:t>
            </a:r>
            <a:endParaRPr lang="de-DE" sz="25000" b="1" dirty="0">
              <a:solidFill>
                <a:srgbClr val="D10A45"/>
              </a:solidFill>
            </a:endParaRPr>
          </a:p>
        </p:txBody>
      </p:sp>
      <p:sp>
        <p:nvSpPr>
          <p:cNvPr id="10" name="TextBox 7"/>
          <p:cNvSpPr txBox="1"/>
          <p:nvPr/>
        </p:nvSpPr>
        <p:spPr>
          <a:xfrm>
            <a:off x="463763" y="5300663"/>
            <a:ext cx="8208145" cy="8286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endParaRPr lang="de-DE" sz="1600" dirty="0">
              <a:solidFill>
                <a:srgbClr val="D10A45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22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9210220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2011: Allgemeine Hochschulreife</a:t>
            </a:r>
          </a:p>
          <a:p>
            <a:r>
              <a:rPr lang="de-DE" dirty="0" smtClean="0"/>
              <a:t>2011 – 2014: Duales Studium bei der GAD eG</a:t>
            </a:r>
          </a:p>
          <a:p>
            <a:pPr lvl="1"/>
            <a:r>
              <a:rPr lang="de-DE" dirty="0" smtClean="0"/>
              <a:t>2013: Fachinformatiker in Anwendungsentwicklung</a:t>
            </a:r>
          </a:p>
          <a:p>
            <a:pPr lvl="1"/>
            <a:r>
              <a:rPr lang="de-DE" dirty="0" smtClean="0"/>
              <a:t>2014: Bachelor </a:t>
            </a:r>
            <a:r>
              <a:rPr lang="de-DE" dirty="0" err="1" smtClean="0"/>
              <a:t>of</a:t>
            </a:r>
            <a:r>
              <a:rPr lang="de-DE" dirty="0" smtClean="0"/>
              <a:t> Science (Wirtschaftsinformatik)</a:t>
            </a:r>
          </a:p>
          <a:p>
            <a:r>
              <a:rPr lang="de-DE" dirty="0" smtClean="0"/>
              <a:t>Seit 2014: festangestellter Mitarbeiter der </a:t>
            </a:r>
            <a:r>
              <a:rPr lang="de-DE" dirty="0" err="1" smtClean="0"/>
              <a:t>Fiducia</a:t>
            </a:r>
            <a:r>
              <a:rPr lang="de-DE" dirty="0" smtClean="0"/>
              <a:t> &amp; GAD IT AG</a:t>
            </a:r>
          </a:p>
          <a:p>
            <a:r>
              <a:rPr lang="de-DE" dirty="0" smtClean="0"/>
              <a:t>2015 – </a:t>
            </a:r>
            <a:r>
              <a:rPr lang="de-DE" dirty="0" err="1" smtClean="0"/>
              <a:t>vsl</a:t>
            </a:r>
            <a:r>
              <a:rPr lang="de-DE" dirty="0" smtClean="0"/>
              <a:t>. 2016: berufsbegleitendes Master-Studium an der WWU Münster (IT-Management)</a:t>
            </a:r>
          </a:p>
          <a:p>
            <a:pPr lvl="2"/>
            <a:endParaRPr lang="de-DE" dirty="0" smtClean="0"/>
          </a:p>
          <a:p>
            <a:pPr>
              <a:buNone/>
            </a:pPr>
            <a:endParaRPr lang="de-D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Jan Lindmeier (* 22.05.1992)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urze Vorstellung </a:t>
            </a:r>
            <a:endParaRPr lang="de-DE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23</a:t>
            </a:fld>
            <a:endParaRPr lang="de-DE" dirty="0"/>
          </a:p>
        </p:txBody>
      </p:sp>
      <p:pic>
        <p:nvPicPr>
          <p:cNvPr id="1027" name="Picture 3" descr="C:\Users\xgadlnd\Downloads\Jan_Lindmeier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508104" y="2132856"/>
            <a:ext cx="2263352" cy="2238971"/>
          </a:xfrm>
          <a:prstGeom prst="rect">
            <a:avLst/>
          </a:prstGeom>
          <a:noFill/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7563456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D10A45"/>
                </a:solidFill>
              </a:rPr>
              <a:t>PowerShell goes Software Engineering  |  1.0 |  22.04.2016</a:t>
            </a:r>
            <a:endParaRPr lang="de-DE" dirty="0" smtClean="0">
              <a:solidFill>
                <a:srgbClr val="D10A45"/>
              </a:solidFill>
            </a:endParaRPr>
          </a:p>
        </p:txBody>
      </p:sp>
      <p:sp>
        <p:nvSpPr>
          <p:cNvPr id="9" name="TextBox 6"/>
          <p:cNvSpPr txBox="1"/>
          <p:nvPr>
            <p:custDataLst>
              <p:tags r:id="rId2"/>
            </p:custDataLst>
          </p:nvPr>
        </p:nvSpPr>
        <p:spPr>
          <a:xfrm>
            <a:off x="463763" y="463549"/>
            <a:ext cx="8208145" cy="4714737"/>
          </a:xfrm>
          <a:prstGeom prst="rect">
            <a:avLst/>
          </a:prstGeom>
          <a:noFill/>
        </p:spPr>
        <p:txBody>
          <a:bodyPr wrap="square" lIns="0" tIns="0" rIns="0" bIns="0" rtlCol="0" anchor="ctr">
            <a:normAutofit/>
          </a:bodyPr>
          <a:lstStyle/>
          <a:p>
            <a:pPr algn="ctr"/>
            <a:r>
              <a:rPr lang="de-DE" sz="11000" b="1" dirty="0" smtClean="0">
                <a:solidFill>
                  <a:srgbClr val="D10A45"/>
                </a:solidFill>
              </a:rPr>
              <a:t>Einordnung</a:t>
            </a:r>
            <a:endParaRPr lang="de-DE" sz="11000" b="1" dirty="0">
              <a:solidFill>
                <a:srgbClr val="D10A45"/>
              </a:solidFill>
            </a:endParaRPr>
          </a:p>
        </p:txBody>
      </p:sp>
      <p:sp>
        <p:nvSpPr>
          <p:cNvPr id="10" name="TextBox 7"/>
          <p:cNvSpPr txBox="1"/>
          <p:nvPr/>
        </p:nvSpPr>
        <p:spPr>
          <a:xfrm>
            <a:off x="463763" y="5300663"/>
            <a:ext cx="8208145" cy="8286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600" dirty="0" smtClean="0">
                <a:solidFill>
                  <a:srgbClr val="D10A45"/>
                </a:solidFill>
              </a:rPr>
              <a:t>Was dieser Vortrag sein soll und was nicht!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3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154631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3978" y="2545677"/>
            <a:ext cx="4038600" cy="4353347"/>
          </a:xfrm>
        </p:spPr>
        <p:txBody>
          <a:bodyPr/>
          <a:lstStyle/>
          <a:p>
            <a:r>
              <a:rPr lang="de-DE" dirty="0" smtClean="0"/>
              <a:t>Was </a:t>
            </a:r>
            <a:r>
              <a:rPr lang="de-DE" dirty="0" smtClean="0"/>
              <a:t>dieser Vortrag sein soll</a:t>
            </a:r>
          </a:p>
          <a:p>
            <a:pPr lvl="1"/>
            <a:r>
              <a:rPr lang="de-DE" dirty="0" smtClean="0"/>
              <a:t>Vorstellung von Problemen</a:t>
            </a:r>
          </a:p>
          <a:p>
            <a:pPr lvl="1"/>
            <a:r>
              <a:rPr lang="de-DE" dirty="0" smtClean="0"/>
              <a:t>Mögliche Ideen zur Lösung zur Diskussion stellen</a:t>
            </a:r>
          </a:p>
          <a:p>
            <a:r>
              <a:rPr lang="de-DE" dirty="0" smtClean="0"/>
              <a:t>Was dieser Vortrag nicht sein soll:</a:t>
            </a:r>
          </a:p>
          <a:p>
            <a:pPr lvl="1"/>
            <a:r>
              <a:rPr lang="de-DE" dirty="0" smtClean="0"/>
              <a:t>DIE Lösung</a:t>
            </a:r>
          </a:p>
          <a:p>
            <a:pPr>
              <a:buNone/>
            </a:pPr>
            <a:endParaRPr lang="de-D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inordnung des Vortrags</a:t>
            </a:r>
            <a:endParaRPr lang="de-DE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1026" name="Picture 2" descr="C:\Users\xgadlnd\Downloads\Fotolia_28792233_Subscription_Monthly_XXL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07125" y="1772816"/>
            <a:ext cx="4062781" cy="3212976"/>
          </a:xfrm>
          <a:prstGeom prst="rect">
            <a:avLst/>
          </a:prstGeom>
          <a:noFill/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75634566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56BC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D10A45"/>
                </a:solidFill>
              </a:rPr>
              <a:t>PowerShell goes Software Engineering  |  1.0 |  22.04.2016</a:t>
            </a:r>
            <a:endParaRPr lang="de-DE" dirty="0" smtClean="0">
              <a:solidFill>
                <a:srgbClr val="D10A45"/>
              </a:solidFill>
            </a:endParaRPr>
          </a:p>
        </p:txBody>
      </p:sp>
      <p:sp>
        <p:nvSpPr>
          <p:cNvPr id="9" name="TextBox 6"/>
          <p:cNvSpPr txBox="1"/>
          <p:nvPr>
            <p:custDataLst>
              <p:tags r:id="rId2"/>
            </p:custDataLst>
          </p:nvPr>
        </p:nvSpPr>
        <p:spPr>
          <a:xfrm>
            <a:off x="463763" y="463549"/>
            <a:ext cx="8208145" cy="4714737"/>
          </a:xfrm>
          <a:prstGeom prst="rect">
            <a:avLst/>
          </a:prstGeom>
          <a:noFill/>
        </p:spPr>
        <p:txBody>
          <a:bodyPr wrap="square" lIns="0" tIns="0" rIns="0" bIns="0" rtlCol="0" anchor="ctr">
            <a:normAutofit/>
          </a:bodyPr>
          <a:lstStyle/>
          <a:p>
            <a:pPr algn="ctr"/>
            <a:r>
              <a:rPr lang="de-DE" sz="11000" b="1" dirty="0" smtClean="0">
                <a:solidFill>
                  <a:srgbClr val="D10A45"/>
                </a:solidFill>
              </a:rPr>
              <a:t>Hintergrund</a:t>
            </a:r>
            <a:endParaRPr lang="de-DE" sz="11000" b="1" dirty="0">
              <a:solidFill>
                <a:srgbClr val="D10A45"/>
              </a:solidFill>
            </a:endParaRPr>
          </a:p>
        </p:txBody>
      </p:sp>
      <p:sp>
        <p:nvSpPr>
          <p:cNvPr id="10" name="TextBox 7"/>
          <p:cNvSpPr txBox="1"/>
          <p:nvPr/>
        </p:nvSpPr>
        <p:spPr>
          <a:xfrm>
            <a:off x="463763" y="5300663"/>
            <a:ext cx="8208145" cy="8286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600" dirty="0" smtClean="0">
                <a:solidFill>
                  <a:srgbClr val="D10A45"/>
                </a:solidFill>
              </a:rPr>
              <a:t>PowerShell und Skriptentwicklung</a:t>
            </a:r>
            <a:endParaRPr lang="de-DE" sz="1600" dirty="0">
              <a:solidFill>
                <a:srgbClr val="D10A45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5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59026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bgerundetes Rechteck 11"/>
          <p:cNvSpPr/>
          <p:nvPr/>
        </p:nvSpPr>
        <p:spPr>
          <a:xfrm>
            <a:off x="3636664" y="2708920"/>
            <a:ext cx="5255816" cy="2304256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de-DE" dirty="0" smtClean="0"/>
              <a:t>„Vollständige“ Windows-IT-Landschaft 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Nahezu unendliche Möglichkeiten – Fluch und Segen zugleich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inordnung von PowerShell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8" name="Abgerundetes Rechteck 7"/>
          <p:cNvSpPr/>
          <p:nvPr/>
        </p:nvSpPr>
        <p:spPr>
          <a:xfrm>
            <a:off x="3818012" y="3321152"/>
            <a:ext cx="1476000" cy="147600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.NET Framework</a:t>
            </a:r>
            <a:endParaRPr lang="de-DE" dirty="0"/>
          </a:p>
        </p:txBody>
      </p:sp>
      <p:sp>
        <p:nvSpPr>
          <p:cNvPr id="9" name="Abgerundetes Rechteck 8"/>
          <p:cNvSpPr/>
          <p:nvPr/>
        </p:nvSpPr>
        <p:spPr>
          <a:xfrm>
            <a:off x="5546204" y="3321152"/>
            <a:ext cx="1476000" cy="147600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WMI/CIM</a:t>
            </a:r>
            <a:endParaRPr lang="de-DE" dirty="0"/>
          </a:p>
        </p:txBody>
      </p:sp>
      <p:sp>
        <p:nvSpPr>
          <p:cNvPr id="10" name="Abgerundetes Rechteck 9"/>
          <p:cNvSpPr/>
          <p:nvPr/>
        </p:nvSpPr>
        <p:spPr>
          <a:xfrm>
            <a:off x="7274395" y="3321152"/>
            <a:ext cx="1476000" cy="147600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OM-Objects</a:t>
            </a:r>
            <a:endParaRPr lang="de-DE" dirty="0"/>
          </a:p>
        </p:txBody>
      </p:sp>
      <p:sp>
        <p:nvSpPr>
          <p:cNvPr id="11" name="Gleichschenkliges Dreieck 10"/>
          <p:cNvSpPr/>
          <p:nvPr/>
        </p:nvSpPr>
        <p:spPr>
          <a:xfrm>
            <a:off x="3708671" y="1556792"/>
            <a:ext cx="5041723" cy="1080120"/>
          </a:xfrm>
          <a:prstGeom prst="triangl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de-DE" dirty="0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61392" y="1955973"/>
            <a:ext cx="3606552" cy="3561259"/>
          </a:xfrm>
        </p:spPr>
        <p:txBody>
          <a:bodyPr/>
          <a:lstStyle/>
          <a:p>
            <a:r>
              <a:rPr lang="de-DE" dirty="0" smtClean="0"/>
              <a:t>Windows-Umgebungen sind nahezu vollständig über APIs administrierbar </a:t>
            </a:r>
            <a:br>
              <a:rPr lang="de-DE" dirty="0" smtClean="0"/>
            </a:br>
            <a:r>
              <a:rPr lang="de-DE" dirty="0" smtClean="0"/>
              <a:t>und automatisierbar</a:t>
            </a:r>
          </a:p>
          <a:p>
            <a:pPr lvl="1">
              <a:buFont typeface="Wingdings" pitchFamily="2" charset="2"/>
              <a:buChar char="Ø"/>
            </a:pPr>
            <a:r>
              <a:rPr lang="de-DE" dirty="0" smtClean="0">
                <a:sym typeface="Wingdings" pitchFamily="2" charset="2"/>
              </a:rPr>
              <a:t>PowerShell vereinfacht </a:t>
            </a:r>
            <a:br>
              <a:rPr lang="de-DE" dirty="0" smtClean="0">
                <a:sym typeface="Wingdings" pitchFamily="2" charset="2"/>
              </a:rPr>
            </a:br>
            <a:r>
              <a:rPr lang="de-DE" dirty="0" smtClean="0">
                <a:sym typeface="Wingdings" pitchFamily="2" charset="2"/>
              </a:rPr>
              <a:t>den Einstieg zusätzlich</a:t>
            </a:r>
          </a:p>
          <a:p>
            <a:pPr lvl="1">
              <a:buFont typeface="Wingdings" pitchFamily="2" charset="2"/>
              <a:buChar char="Ø"/>
            </a:pPr>
            <a:r>
              <a:rPr lang="de-DE" dirty="0" smtClean="0">
                <a:sym typeface="Wingdings" pitchFamily="2" charset="2"/>
              </a:rPr>
              <a:t>weitere Abstraktionsschicht</a:t>
            </a:r>
          </a:p>
          <a:p>
            <a:r>
              <a:rPr lang="de-DE" dirty="0" smtClean="0">
                <a:sym typeface="Wingdings" pitchFamily="2" charset="2"/>
              </a:rPr>
              <a:t>Keine Einstiegshürde</a:t>
            </a:r>
          </a:p>
          <a:p>
            <a:r>
              <a:rPr lang="de-DE" dirty="0" smtClean="0">
                <a:sym typeface="Wingdings" pitchFamily="2" charset="2"/>
              </a:rPr>
              <a:t>Skript („kleines </a:t>
            </a:r>
            <a:r>
              <a:rPr lang="de-DE" dirty="0" err="1" smtClean="0">
                <a:sym typeface="Wingdings" pitchFamily="2" charset="2"/>
              </a:rPr>
              <a:t>Programmchen</a:t>
            </a:r>
            <a:r>
              <a:rPr lang="de-DE" dirty="0" smtClean="0">
                <a:sym typeface="Wingdings" pitchFamily="2" charset="2"/>
              </a:rPr>
              <a:t>“)</a:t>
            </a:r>
            <a:br>
              <a:rPr lang="de-DE" dirty="0" smtClean="0">
                <a:sym typeface="Wingdings" pitchFamily="2" charset="2"/>
              </a:rPr>
            </a:br>
            <a:r>
              <a:rPr lang="de-DE" dirty="0" smtClean="0">
                <a:sym typeface="Wingdings" pitchFamily="2" charset="2"/>
              </a:rPr>
              <a:t>vs. Unendliche Möglichkeiten</a:t>
            </a:r>
          </a:p>
          <a:p>
            <a:pPr lvl="1">
              <a:buFont typeface="Wingdings" pitchFamily="2" charset="2"/>
              <a:buChar char="Ø"/>
            </a:pPr>
            <a:r>
              <a:rPr lang="de-DE" dirty="0" smtClean="0">
                <a:sym typeface="Wingdings" pitchFamily="2" charset="2"/>
              </a:rPr>
              <a:t>unübersichtliche, endlos</a:t>
            </a:r>
            <a:br>
              <a:rPr lang="de-DE" dirty="0" smtClean="0">
                <a:sym typeface="Wingdings" pitchFamily="2" charset="2"/>
              </a:rPr>
            </a:br>
            <a:r>
              <a:rPr lang="de-DE" dirty="0" smtClean="0">
                <a:sym typeface="Wingdings" pitchFamily="2" charset="2"/>
              </a:rPr>
              <a:t>lange Skript-Dateien</a:t>
            </a:r>
          </a:p>
          <a:p>
            <a:pPr lvl="1">
              <a:buFont typeface="Wingdings" pitchFamily="2" charset="2"/>
              <a:buChar char="Ø"/>
            </a:pPr>
            <a:r>
              <a:rPr lang="de-DE" dirty="0" smtClean="0">
                <a:sym typeface="Wingdings" pitchFamily="2" charset="2"/>
              </a:rPr>
              <a:t>Schlechte Qualität und </a:t>
            </a:r>
            <a:r>
              <a:rPr lang="de-DE" dirty="0" err="1" smtClean="0">
                <a:sym typeface="Wingdings" pitchFamily="2" charset="2"/>
              </a:rPr>
              <a:t>Wartbarkeit</a:t>
            </a:r>
            <a:endParaRPr lang="de-DE" dirty="0" smtClean="0"/>
          </a:p>
          <a:p>
            <a:pPr>
              <a:buNone/>
            </a:pPr>
            <a:endParaRPr lang="de-DE" dirty="0"/>
          </a:p>
        </p:txBody>
      </p:sp>
      <p:sp>
        <p:nvSpPr>
          <p:cNvPr id="14" name="Abgerundetes Rechteck 13"/>
          <p:cNvSpPr/>
          <p:nvPr/>
        </p:nvSpPr>
        <p:spPr>
          <a:xfrm>
            <a:off x="5789638" y="2204864"/>
            <a:ext cx="1100324" cy="288032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Cmdlets</a:t>
            </a:r>
            <a:endParaRPr lang="de-DE" dirty="0"/>
          </a:p>
        </p:txBody>
      </p:sp>
      <p:sp>
        <p:nvSpPr>
          <p:cNvPr id="15" name="Textfeld 14"/>
          <p:cNvSpPr txBox="1"/>
          <p:nvPr/>
        </p:nvSpPr>
        <p:spPr>
          <a:xfrm>
            <a:off x="5670551" y="1771307"/>
            <a:ext cx="13516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PowerShell</a:t>
            </a:r>
            <a:endParaRPr lang="de-DE" dirty="0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6" dur="5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6" dur="500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9" dur="500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2" dur="500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uiExpand="1" animBg="1"/>
      <p:bldP spid="13" grpId="0" uiExpand="1" build="p"/>
      <p:bldP spid="14" grpId="0" animBg="1"/>
      <p:bldP spid="1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DB4E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chemeClr val="lt2"/>
                </a:solidFill>
              </a:rPr>
              <a:t>PowerShell goes Software Engineering  |  1.0 |  22.04.2016</a:t>
            </a:r>
            <a:endParaRPr lang="de-DE" dirty="0" smtClean="0">
              <a:solidFill>
                <a:schemeClr val="lt2"/>
              </a:solidFill>
            </a:endParaRPr>
          </a:p>
        </p:txBody>
      </p:sp>
      <p:sp>
        <p:nvSpPr>
          <p:cNvPr id="9" name="TextBox 6"/>
          <p:cNvSpPr txBox="1"/>
          <p:nvPr>
            <p:custDataLst>
              <p:tags r:id="rId2"/>
            </p:custDataLst>
          </p:nvPr>
        </p:nvSpPr>
        <p:spPr>
          <a:xfrm>
            <a:off x="463763" y="463549"/>
            <a:ext cx="8208145" cy="4714737"/>
          </a:xfrm>
          <a:prstGeom prst="rect">
            <a:avLst/>
          </a:prstGeom>
          <a:noFill/>
        </p:spPr>
        <p:txBody>
          <a:bodyPr wrap="square" lIns="0" tIns="0" rIns="0" bIns="0" rtlCol="0" anchor="ctr">
            <a:normAutofit fontScale="32500" lnSpcReduction="20000"/>
          </a:bodyPr>
          <a:lstStyle/>
          <a:p>
            <a:pPr algn="ctr"/>
            <a:r>
              <a:rPr lang="de-DE" sz="25000" b="1" dirty="0" smtClean="0">
                <a:solidFill>
                  <a:schemeClr val="lt2"/>
                </a:solidFill>
              </a:rPr>
              <a:t>PowerShell </a:t>
            </a:r>
            <a:r>
              <a:rPr lang="de-DE" sz="25000" b="1" dirty="0" err="1" smtClean="0">
                <a:solidFill>
                  <a:schemeClr val="lt2"/>
                </a:solidFill>
              </a:rPr>
              <a:t>goes</a:t>
            </a:r>
            <a:r>
              <a:rPr lang="de-DE" sz="25000" b="1" dirty="0" smtClean="0">
                <a:solidFill>
                  <a:schemeClr val="lt2"/>
                </a:solidFill>
              </a:rPr>
              <a:t> Software Engineering</a:t>
            </a:r>
            <a:endParaRPr lang="de-DE" sz="25000" b="1" dirty="0">
              <a:solidFill>
                <a:schemeClr val="lt2"/>
              </a:solidFill>
            </a:endParaRPr>
          </a:p>
        </p:txBody>
      </p:sp>
      <p:sp>
        <p:nvSpPr>
          <p:cNvPr id="10" name="TextBox 7"/>
          <p:cNvSpPr txBox="1"/>
          <p:nvPr/>
        </p:nvSpPr>
        <p:spPr>
          <a:xfrm>
            <a:off x="463763" y="5300663"/>
            <a:ext cx="8208145" cy="8286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600" dirty="0" smtClean="0">
                <a:solidFill>
                  <a:schemeClr val="lt2"/>
                </a:solidFill>
              </a:rPr>
              <a:t>Strukturierte, qualitativ hochwertige Skripte ohne Mehraufwand und Einstiegshürde </a:t>
            </a:r>
            <a:endParaRPr lang="de-DE" sz="1600" dirty="0">
              <a:solidFill>
                <a:schemeClr val="lt2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7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5001850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Ziele</a:t>
            </a:r>
          </a:p>
          <a:p>
            <a:pPr lvl="1"/>
            <a:r>
              <a:rPr lang="de-DE" dirty="0" smtClean="0"/>
              <a:t>Reduktion der Entwicklungs- und Wartungskosten </a:t>
            </a:r>
          </a:p>
          <a:p>
            <a:pPr lvl="1"/>
            <a:r>
              <a:rPr lang="de-DE" dirty="0" smtClean="0"/>
              <a:t>Einhaltung von Terminen </a:t>
            </a:r>
          </a:p>
          <a:p>
            <a:pPr lvl="1"/>
            <a:r>
              <a:rPr lang="de-DE" dirty="0" smtClean="0"/>
              <a:t>Hohe Zuverlässigkeit und Qualität </a:t>
            </a:r>
          </a:p>
          <a:p>
            <a:pPr lvl="1"/>
            <a:r>
              <a:rPr lang="de-DE" dirty="0" smtClean="0"/>
              <a:t>Ausreichende  Effizienz (Grenznutzen vs. Grenzkosten)</a:t>
            </a:r>
          </a:p>
          <a:p>
            <a:pPr lvl="1"/>
            <a:endParaRPr lang="de-DE" dirty="0" smtClean="0"/>
          </a:p>
          <a:p>
            <a:r>
              <a:rPr lang="de-DE" dirty="0" smtClean="0"/>
              <a:t>Zielerreichung durch </a:t>
            </a:r>
            <a:r>
              <a:rPr lang="de-DE" dirty="0" err="1" smtClean="0"/>
              <a:t>ingeneurmäßiges</a:t>
            </a:r>
            <a:r>
              <a:rPr lang="de-DE" dirty="0" smtClean="0"/>
              <a:t> Vorgehen</a:t>
            </a:r>
          </a:p>
          <a:p>
            <a:r>
              <a:rPr lang="de-DE" dirty="0" smtClean="0"/>
              <a:t>Wie?</a:t>
            </a:r>
          </a:p>
          <a:p>
            <a:pPr lvl="1"/>
            <a:r>
              <a:rPr lang="de-DE" dirty="0" smtClean="0"/>
              <a:t>Vorgehensmodelle (Planung, </a:t>
            </a:r>
            <a:r>
              <a:rPr lang="de-DE" dirty="0" smtClean="0">
                <a:sym typeface="Wingdings" pitchFamily="2" charset="2"/>
              </a:rPr>
              <a:t>Definition, Entwurf, Implementierung, Testen Einsatz/Wartung), für jede Phase gibt es Methoden und Tools</a:t>
            </a:r>
          </a:p>
          <a:p>
            <a:pPr lvl="1"/>
            <a:r>
              <a:rPr lang="de-DE" dirty="0" smtClean="0"/>
              <a:t>Grundsätzliche Pattern</a:t>
            </a:r>
          </a:p>
          <a:p>
            <a:pPr lvl="2"/>
            <a:r>
              <a:rPr lang="de-DE" dirty="0" smtClean="0"/>
              <a:t>Wiederverwendbarkeit</a:t>
            </a:r>
          </a:p>
          <a:p>
            <a:pPr lvl="2"/>
            <a:r>
              <a:rPr lang="de-DE" dirty="0" smtClean="0"/>
              <a:t>Modularisierung/Strukturiertheit</a:t>
            </a:r>
          </a:p>
          <a:p>
            <a:pPr lvl="2"/>
            <a:r>
              <a:rPr lang="de-DE" dirty="0" smtClean="0"/>
              <a:t>Robustheit/Fehlertoleranz</a:t>
            </a:r>
          </a:p>
          <a:p>
            <a:pPr lvl="2"/>
            <a:r>
              <a:rPr lang="de-DE" dirty="0" smtClean="0"/>
              <a:t>Write </a:t>
            </a:r>
            <a:r>
              <a:rPr lang="de-DE" dirty="0" err="1" smtClean="0"/>
              <a:t>Once</a:t>
            </a:r>
            <a:r>
              <a:rPr lang="de-DE" dirty="0" smtClean="0"/>
              <a:t> – </a:t>
            </a:r>
            <a:r>
              <a:rPr lang="de-DE" dirty="0" err="1" smtClean="0"/>
              <a:t>Use</a:t>
            </a:r>
            <a:r>
              <a:rPr lang="de-DE" dirty="0" smtClean="0"/>
              <a:t> Anywhere</a:t>
            </a:r>
          </a:p>
          <a:p>
            <a:pPr lvl="2"/>
            <a:endParaRPr lang="de-DE" dirty="0" smtClean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Was heißt Software Engineering?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oftware Engineering – auch für Skriptsprach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1026" name="Picture 2" descr="https://markenportal.fiduciagad.de/content/f8998-2/internetneu_4/website/download-center/_jcr_content/parsys/bildergalerie/parsys/bild_55/bildsub.img.png/1446213495006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220072" y="1916832"/>
            <a:ext cx="3622576" cy="2166393"/>
          </a:xfrm>
          <a:prstGeom prst="rect">
            <a:avLst/>
          </a:prstGeom>
          <a:noFill/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Software Engineering in der reinen Lehre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dee: PowerShell </a:t>
            </a:r>
            <a:r>
              <a:rPr lang="de-DE" dirty="0" err="1" smtClean="0"/>
              <a:t>goes</a:t>
            </a:r>
            <a:r>
              <a:rPr lang="de-DE" dirty="0" smtClean="0"/>
              <a:t> Software Engineer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F911D4A-070B-4C3B-BD2B-33DF91ACF092}" type="slidenum">
              <a:rPr lang="de-DE" smtClean="0"/>
              <a:pPr/>
              <a:t>9</a:t>
            </a:fld>
            <a:endParaRPr lang="de-DE" dirty="0"/>
          </a:p>
        </p:txBody>
      </p:sp>
      <p:graphicFrame>
        <p:nvGraphicFramePr>
          <p:cNvPr id="10" name="Diagramm 9"/>
          <p:cNvGraphicFramePr/>
          <p:nvPr/>
        </p:nvGraphicFramePr>
        <p:xfrm>
          <a:off x="251520" y="1628800"/>
          <a:ext cx="2592288" cy="42642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Textfeld 7"/>
          <p:cNvSpPr txBox="1"/>
          <p:nvPr/>
        </p:nvSpPr>
        <p:spPr>
          <a:xfrm>
            <a:off x="2751442" y="1660158"/>
            <a:ext cx="12618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Lastenheft</a:t>
            </a:r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2771800" y="2420888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Pflichtenheft</a:t>
            </a:r>
            <a:endParaRPr lang="de-DE" dirty="0"/>
          </a:p>
        </p:txBody>
      </p:sp>
      <p:sp>
        <p:nvSpPr>
          <p:cNvPr id="12" name="Textfeld 11"/>
          <p:cNvSpPr txBox="1"/>
          <p:nvPr/>
        </p:nvSpPr>
        <p:spPr>
          <a:xfrm>
            <a:off x="2843808" y="3140968"/>
            <a:ext cx="50064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Architektur und Spezifikation der Komponenten</a:t>
            </a:r>
          </a:p>
          <a:p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>
            <a:off x="2843808" y="3939699"/>
            <a:ext cx="50064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Dokumentierter Programmcode</a:t>
            </a:r>
          </a:p>
          <a:p>
            <a:endParaRPr lang="de-DE" dirty="0"/>
          </a:p>
        </p:txBody>
      </p:sp>
      <p:sp>
        <p:nvSpPr>
          <p:cNvPr id="14" name="Textfeld 13"/>
          <p:cNvSpPr txBox="1"/>
          <p:nvPr/>
        </p:nvSpPr>
        <p:spPr>
          <a:xfrm>
            <a:off x="2843808" y="4725144"/>
            <a:ext cx="50064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Dokumentierte Testfälle</a:t>
            </a:r>
          </a:p>
          <a:p>
            <a:endParaRPr lang="de-DE" dirty="0"/>
          </a:p>
        </p:txBody>
      </p:sp>
      <p:sp>
        <p:nvSpPr>
          <p:cNvPr id="15" name="Textfeld 14"/>
          <p:cNvSpPr txBox="1"/>
          <p:nvPr/>
        </p:nvSpPr>
        <p:spPr>
          <a:xfrm>
            <a:off x="2843808" y="5371475"/>
            <a:ext cx="50064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Deployment</a:t>
            </a:r>
            <a:endParaRPr lang="de-DE" dirty="0" smtClean="0"/>
          </a:p>
          <a:p>
            <a:endParaRPr lang="de-DE" dirty="0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7"/>
  <p:tag name="MIO_SHOW_DATE" val="True"/>
  <p:tag name="MIO_SHOW_FOOTER" val="True"/>
  <p:tag name="MIO_SHOW_PAGENUMBER" val="True"/>
  <p:tag name="MIO_AVOID_BLANK_LAYOUT" val="False"/>
  <p:tag name="MIO_NUMBER_OF_VALID_LAYOUTS" val="10"/>
  <p:tag name="MIO_MST_COLOR_1" val="0,0,0,Dunkel 1"/>
  <p:tag name="MIO_MST_COLOR_2" val="255,255,255,Hell 1"/>
  <p:tag name="MIO_MST_COLOR_3" val="0,102,179,Dunkel 2"/>
  <p:tag name="MIO_MST_COLOR_4" val="135,208,234,Hell 2"/>
  <p:tag name="MIO_MST_COLOR_5" val="0,102,179,Akzent 1"/>
  <p:tag name="MIO_MST_COLOR_6" val="255,102,0,Akzent 2"/>
  <p:tag name="MIO_MST_COLOR_7" val="250,203,65,Akzent 3"/>
  <p:tag name="MIO_MST_COLOR_8" val="86,188,177,Akzent 4"/>
  <p:tag name="MIO_MST_COLOR_9" val="219,76,122,Akzent 5"/>
  <p:tag name="MIO_MST_COLOR_10" val="138,192,86,Akzent 6"/>
  <p:tag name="MIO_MST_COLOR_11" val="135,208,234,"/>
  <p:tag name="MIO_MST_COLOR_12" val="160,80,154,"/>
  <p:tag name="MIO_HDS" val="True"/>
  <p:tag name="MIO_EK" val="7613"/>
  <p:tag name="MIO_UPDATE" val="True"/>
  <p:tag name="MIO_VERSION" val="20.08.2015 13:17:44"/>
  <p:tag name="MIO_DBID" val="54B27739-259A-4B6D-85E6-2A416AF8768C"/>
  <p:tag name="MIO_LASTDOWNLOADED" val="14.10.2015 12:32:41"/>
  <p:tag name="MIO_OBJECTNAME" val="Master 4 : 3 Standard"/>
  <p:tag name="MIO_LASTEDITORNAME" val="empower enterpri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Wah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6337cb-7b8d-4871-80f3-80c62a151593"/>
  <p:tag name="MIO_EK" val="3240"/>
  <p:tag name="MIO_UPDATE" val="True"/>
  <p:tag name="MIO_VERSION" val="15.07.2015 18:14:59"/>
  <p:tag name="MIO_DBID" val="54B27739-259A-4B6D-85E6-2A416AF8768C"/>
  <p:tag name="MIO_LASTDOWNLOADED" val="19.10.2015 14:53:09"/>
  <p:tag name="MIO_OBJECTNAME" val="Daumen hoch"/>
  <p:tag name="MIO_LASTEDITORNAME" val="(Sandra Spiess)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e1d7f1a-b991-4e3a-b466-897bb17a605e"/>
  <p:tag name="MIO_EK" val="3241"/>
  <p:tag name="MIO_UPDATE" val="True"/>
  <p:tag name="MIO_VERSION" val="15.07.2015 18:15:00"/>
  <p:tag name="MIO_DBID" val="54B27739-259A-4B6D-85E6-2A416AF8768C"/>
  <p:tag name="MIO_LASTDOWNLOADED" val="19.10.2015 14:53:10"/>
  <p:tag name="MIO_OBJECTNAME" val="Daumen runter"/>
  <p:tag name="MIO_LASTEDITORNAME" val="(Sandra Spiess)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a20fe94-bc6e-48a1-b194-f274aeffe376"/>
  <p:tag name="MIO_SLIDE_HAS_HYPERLINK" val="False"/>
  <p:tag name="MIO_EK" val="9278"/>
  <p:tag name="MIO_UPDATE" val="True"/>
  <p:tag name="MIO_VERSION" val="27.08.2015 16:35:59"/>
  <p:tag name="MIO_DBID" val="54B27739-259A-4B6D-85E6-2A416AF8768C"/>
  <p:tag name="MIO_LASTDOWNLOADED" val="19.10.2015 07:47:11"/>
  <p:tag name="MIO_OBJECTNAME" val="Wortfolie grün/lila"/>
  <p:tag name="MIO_LASTEDITORNAME" val="(Sandra Spiess)"/>
  <p:tag name="MIO_EK_DESIGN" val="10760"/>
  <p:tag name="MIO_VERSION_DESIGN" val="19.10.2015 08:26:30"/>
  <p:tag name="MIO_DBID_DESIGN" val="54B27739-259A-4B6D-85E6-2A416AF8768C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Wah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a20fe94-bc6e-48a1-b194-f274aeffe376"/>
  <p:tag name="MIO_EK_DESIGN" val="7613"/>
  <p:tag name="MIO_VERSION_DESIGN" val="03.11.2015 14:30:41"/>
  <p:tag name="MIO_DBID_DESIGN" val="54B27739-259A-4B6D-85E6-2A416AF8768C"/>
  <p:tag name="MIO_EK" val="9277"/>
  <p:tag name="MIO_UPDATE" val="True"/>
  <p:tag name="MIO_VERSION" val="12.02.2016 11:19:35"/>
  <p:tag name="MIO_DBID" val="54B27739-259A-4B6D-85E6-2A416AF8768C"/>
  <p:tag name="MIO_LASTDOWNLOADED" val="03.04.2016 00:47:27"/>
  <p:tag name="MIO_OBJECTNAME" val="Wortfolie türkis/gelb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Wah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e02799b-2b41-4fed-94d1-6e03ada63e70"/>
  <p:tag name="MIO_EK" val="8145"/>
  <p:tag name="MIO_UPDATE" val="True"/>
  <p:tag name="MIO_VERSION" val="11.08.2015 10:38:13"/>
  <p:tag name="MIO_DBID" val="54B27739-259A-4B6D-85E6-2A416AF8768C"/>
  <p:tag name="MIO_LASTDOWNLOADED" val="19.10.2015 07:46:27"/>
  <p:tag name="MIO_OBJECTNAME" val="Inhalt mit Bild"/>
  <p:tag name="MIO_LASTEDITORNAME" val="Sandra Spiess"/>
  <p:tag name="MIO_EK_DESIGN" val="10760"/>
  <p:tag name="MIO_VERSION_DESIGN" val="19.10.2015 08:26:30"/>
  <p:tag name="MIO_DBID_DESIGN" val="54B27739-259A-4B6D-85E6-2A416AF8768C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c163b54-fb13-48f6-96dd-6d4cc755d57b"/>
  <p:tag name="MIO_EK" val="8198"/>
  <p:tag name="MIO_UPDATE" val="True"/>
  <p:tag name="MIO_VERSION" val="11.08.2015 14:59:18"/>
  <p:tag name="MIO_DBID" val="54B27739-259A-4B6D-85E6-2A416AF8768C"/>
  <p:tag name="MIO_LASTDOWNLOADED" val="19.10.2015 07:45:09"/>
  <p:tag name="MIO_OBJECTNAME" val="Schlussfolie 1"/>
  <p:tag name="MIO_LASTEDITORNAME" val="(Sandra Spiess)"/>
  <p:tag name="MIO_EK_DESIGN" val="10760"/>
  <p:tag name="MIO_VERSION_DESIGN" val="19.10.2015 08:26:30"/>
  <p:tag name="MIO_DBID_DESIGN" val="54B27739-259A-4B6D-85E6-2A416AF8768C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a20fe94-bc6e-48a1-b194-f274aeffe376"/>
  <p:tag name="MIO_SLIDE_HAS_HYPERLINK" val="False"/>
  <p:tag name="MIO_EK" val="9274"/>
  <p:tag name="MIO_UPDATE" val="True"/>
  <p:tag name="MIO_VERSION" val="27.08.2015 16:37:25"/>
  <p:tag name="MIO_DBID" val="54B27739-259A-4B6D-85E6-2A416AF8768C"/>
  <p:tag name="MIO_LASTDOWNLOADED" val="19.10.2015 07:47:02"/>
  <p:tag name="MIO_OBJECTNAME" val="Wortfolie gelb/rot"/>
  <p:tag name="MIO_LASTEDITORNAME" val="(Sandra Spiess)"/>
  <p:tag name="MIO_EK_DESIGN" val="10760"/>
  <p:tag name="MIO_VERSION_DESIGN" val="19.10.2015 08:26:30"/>
  <p:tag name="MIO_DBID_DESIGN" val="54B27739-259A-4B6D-85E6-2A416AF8768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7"/>
  <p:tag name="MIO_SHOW_DATE" val="True"/>
  <p:tag name="MIO_SHOW_FOOTER" val="True"/>
  <p:tag name="MIO_SHOW_PAGENUMBER" val="True"/>
  <p:tag name="MIO_AVOID_BLANK_LAYOUT" val="False"/>
  <p:tag name="MIO_NUMBER_OF_VALID_LAYOUTS" val="10"/>
  <p:tag name="MIO_MST_COLOR_1" val="0,0,0,Dunkel 1"/>
  <p:tag name="MIO_MST_COLOR_2" val="255,255,255,Hell 1"/>
  <p:tag name="MIO_MST_COLOR_3" val="0,102,179,Dunkel 2"/>
  <p:tag name="MIO_MST_COLOR_4" val="135,208,234,Hell 2"/>
  <p:tag name="MIO_MST_COLOR_5" val="0,102,179,Akzent 1"/>
  <p:tag name="MIO_MST_COLOR_6" val="255,102,0,Akzent 2"/>
  <p:tag name="MIO_MST_COLOR_7" val="250,203,65,Akzent 3"/>
  <p:tag name="MIO_MST_COLOR_8" val="86,188,177,Akzent 4"/>
  <p:tag name="MIO_MST_COLOR_9" val="219,76,122,Akzent 5"/>
  <p:tag name="MIO_MST_COLOR_10" val="138,192,86,Akzent 6"/>
  <p:tag name="MIO_MST_COLOR_11" val="135,208,234,"/>
  <p:tag name="MIO_MST_COLOR_12" val="160,80,154,"/>
  <p:tag name="MIO_HDS" val="True"/>
  <p:tag name="MIO_EK" val="7613"/>
  <p:tag name="MIO_UPDATE" val="True"/>
  <p:tag name="MIO_VERSION" val="03.11.2015 14:30:41"/>
  <p:tag name="MIO_DBID" val="54B27739-259A-4B6D-85E6-2A416AF8768C"/>
  <p:tag name="MIO_LASTDOWNLOADED" val="08.02.2016 13:53:30"/>
  <p:tag name="MIO_OBJECTNAME" val="Master 4 : 3 Standard"/>
  <p:tag name="MIO_LASTEDITORNAME" val="Cornelia Kuster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Wah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e02799b-2b41-4fed-94d1-6e03ada63e70"/>
  <p:tag name="MIO_EK" val="8145"/>
  <p:tag name="MIO_UPDATE" val="True"/>
  <p:tag name="MIO_VERSION" val="11.08.2015 10:38:13"/>
  <p:tag name="MIO_DBID" val="54B27739-259A-4B6D-85E6-2A416AF8768C"/>
  <p:tag name="MIO_LASTDOWNLOADED" val="19.10.2015 07:46:27"/>
  <p:tag name="MIO_OBJECTNAME" val="Inhalt mit Bild"/>
  <p:tag name="MIO_LASTEDITORNAME" val="Sandra Spiess"/>
  <p:tag name="MIO_EK_DESIGN" val="10760"/>
  <p:tag name="MIO_VERSION_DESIGN" val="19.10.2015 08:26:30"/>
  <p:tag name="MIO_DBID_DESIGN" val="54B27739-259A-4B6D-85E6-2A416AF8768C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ba031fe-8e66-404a-bcd2-c7e6de8d4bfa"/>
  <p:tag name="MIO_EK" val="8141"/>
  <p:tag name="MIO_UPDATE" val="True"/>
  <p:tag name="MIO_VERSION" val="11.08.2015 10:38:08"/>
  <p:tag name="MIO_DBID" val="54B27739-259A-4B6D-85E6-2A416AF8768C"/>
  <p:tag name="MIO_LASTDOWNLOADED" val="19.10.2015 07:45:36"/>
  <p:tag name="MIO_OBJECTNAME" val="Inhaltsverzeichnis"/>
  <p:tag name="MIO_LASTEDITORNAME" val="Sandra Spiess"/>
  <p:tag name="MIO_EK_DESIGN" val="10760"/>
  <p:tag name="MIO_VERSION_DESIGN" val="19.10.2015 08:26:30"/>
  <p:tag name="MIO_DBID_DESIGN" val="54B27739-259A-4B6D-85E6-2A416AF8768C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a20fe94-bc6e-48a1-b194-f274aeffe376"/>
  <p:tag name="MIO_SLIDE_HAS_HYPERLINK" val="False"/>
  <p:tag name="MIO_EK" val="9273"/>
  <p:tag name="MIO_UPDATE" val="True"/>
  <p:tag name="MIO_VERSION" val="27.08.2015 16:37:44"/>
  <p:tag name="MIO_DBID" val="54B27739-259A-4B6D-85E6-2A416AF8768C"/>
  <p:tag name="MIO_LASTDOWNLOADED" val="19.10.2015 07:46:57"/>
  <p:tag name="MIO_OBJECTNAME" val="Wortfolie hellblau/rot"/>
  <p:tag name="MIO_LASTEDITORNAME" val="(Sandra Spiess)"/>
  <p:tag name="MIO_EK_DESIGN" val="10760"/>
  <p:tag name="MIO_VERSION_DESIGN" val="19.10.2015 08:26:30"/>
  <p:tag name="MIO_DBID_DESIGN" val="54B27739-259A-4B6D-85E6-2A416AF8768C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Wah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e02799b-2b41-4fed-94d1-6e03ada63e70"/>
  <p:tag name="MIO_EK" val="8145"/>
  <p:tag name="MIO_UPDATE" val="True"/>
  <p:tag name="MIO_VERSION" val="11.08.2015 10:38:13"/>
  <p:tag name="MIO_DBID" val="54B27739-259A-4B6D-85E6-2A416AF8768C"/>
  <p:tag name="MIO_LASTDOWNLOADED" val="19.10.2015 07:46:27"/>
  <p:tag name="MIO_OBJECTNAME" val="Inhalt mit Bild"/>
  <p:tag name="MIO_LASTEDITORNAME" val="Sandra Spiess"/>
  <p:tag name="MIO_EK_DESIGN" val="10760"/>
  <p:tag name="MIO_VERSION_DESIGN" val="19.10.2015 08:26:30"/>
  <p:tag name="MIO_DBID_DESIGN" val="54B27739-259A-4B6D-85E6-2A416AF8768C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a20fe94-bc6e-48a1-b194-f274aeffe376"/>
  <p:tag name="MIO_SLIDE_HAS_HYPERLINK" val="False"/>
  <p:tag name="MIO_EK" val="9276"/>
  <p:tag name="MIO_UPDATE" val="True"/>
  <p:tag name="MIO_VERSION" val="27.08.2015 16:36:50"/>
  <p:tag name="MIO_DBID" val="54B27739-259A-4B6D-85E6-2A416AF8768C"/>
  <p:tag name="MIO_LASTDOWNLOADED" val="19.10.2015 07:47:06"/>
  <p:tag name="MIO_OBJECTNAME" val="Wortfolie türkis/rot"/>
  <p:tag name="MIO_LASTEDITORNAME" val="(Sandra Spiess)"/>
  <p:tag name="MIO_EK_DESIGN" val="10760"/>
  <p:tag name="MIO_VERSION_DESIGN" val="19.10.2015 08:26:30"/>
  <p:tag name="MIO_DBID_DESIGN" val="54B27739-259A-4B6D-85E6-2A416AF8768C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Wah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a20fe94-bc6e-48a1-b194-f274aeffe376"/>
  <p:tag name="MIO_SLIDE_HAS_HYPERLINK" val="False"/>
  <p:tag name="MIO_EK" val="9275"/>
  <p:tag name="MIO_UPDATE" val="True"/>
  <p:tag name="MIO_VERSION" val="27.08.2015 16:37:04"/>
  <p:tag name="MIO_DBID" val="54B27739-259A-4B6D-85E6-2A416AF8768C"/>
  <p:tag name="MIO_LASTDOWNLOADED" val="19.10.2015 07:47:04"/>
  <p:tag name="MIO_OBJECTNAME" val="Wortfolie pink/hellblau"/>
  <p:tag name="MIO_LASTEDITORNAME" val="(Sandra Spiess)"/>
  <p:tag name="MIO_EK_DESIGN" val="10760"/>
  <p:tag name="MIO_VERSION_DESIGN" val="19.10.2015 08:26:30"/>
  <p:tag name="MIO_DBID_DESIGN" val="54B27739-259A-4B6D-85E6-2A416AF8768C"/>
</p:tagLst>
</file>

<file path=ppt/theme/theme1.xml><?xml version="1.0" encoding="utf-8"?>
<a:theme xmlns:a="http://schemas.openxmlformats.org/drawingml/2006/main" name="Fiducia_GAD_Master_4_3">
  <a:themeElements>
    <a:clrScheme name="Fiducia GAD Juli15">
      <a:dk1>
        <a:srgbClr val="000000"/>
      </a:dk1>
      <a:lt1>
        <a:srgbClr val="FFFFFF"/>
      </a:lt1>
      <a:dk2>
        <a:srgbClr val="0066B3"/>
      </a:dk2>
      <a:lt2>
        <a:srgbClr val="87D0EA"/>
      </a:lt2>
      <a:accent1>
        <a:srgbClr val="0066B3"/>
      </a:accent1>
      <a:accent2>
        <a:srgbClr val="FF6600"/>
      </a:accent2>
      <a:accent3>
        <a:srgbClr val="FACB41"/>
      </a:accent3>
      <a:accent4>
        <a:srgbClr val="56BCB1"/>
      </a:accent4>
      <a:accent5>
        <a:srgbClr val="DB4C7A"/>
      </a:accent5>
      <a:accent6>
        <a:srgbClr val="8AC056"/>
      </a:accent6>
      <a:hlink>
        <a:srgbClr val="87D0EA"/>
      </a:hlink>
      <a:folHlink>
        <a:srgbClr val="A0509A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aster 4 : 3 Standard">
  <a:themeElements>
    <a:clrScheme name="Fiducia GAD Juli15">
      <a:dk1>
        <a:srgbClr val="000000"/>
      </a:dk1>
      <a:lt1>
        <a:srgbClr val="FFFFFF"/>
      </a:lt1>
      <a:dk2>
        <a:srgbClr val="0066B3"/>
      </a:dk2>
      <a:lt2>
        <a:srgbClr val="87D0EA"/>
      </a:lt2>
      <a:accent1>
        <a:srgbClr val="0066B3"/>
      </a:accent1>
      <a:accent2>
        <a:srgbClr val="FF6600"/>
      </a:accent2>
      <a:accent3>
        <a:srgbClr val="FACB41"/>
      </a:accent3>
      <a:accent4>
        <a:srgbClr val="56BCB1"/>
      </a:accent4>
      <a:accent5>
        <a:srgbClr val="DB4C7A"/>
      </a:accent5>
      <a:accent6>
        <a:srgbClr val="8AC056"/>
      </a:accent6>
      <a:hlink>
        <a:srgbClr val="87D0EA"/>
      </a:hlink>
      <a:folHlink>
        <a:srgbClr val="A0509A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ducia_GAD_Master_4_3</Template>
  <TotalTime>0</TotalTime>
  <Words>837</Words>
  <Application>Microsoft Office PowerPoint</Application>
  <PresentationFormat>Bildschirmpräsentation (4:3)</PresentationFormat>
  <Paragraphs>238</Paragraphs>
  <Slides>23</Slides>
  <Notes>14</Notes>
  <HiddenSlides>2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23</vt:i4>
      </vt:variant>
    </vt:vector>
  </HeadingPairs>
  <TitlesOfParts>
    <vt:vector size="29" baseType="lpstr">
      <vt:lpstr>Arial</vt:lpstr>
      <vt:lpstr>Calibri</vt:lpstr>
      <vt:lpstr>Symbol</vt:lpstr>
      <vt:lpstr>Wingdings</vt:lpstr>
      <vt:lpstr>Fiducia_GAD_Master_4_3</vt:lpstr>
      <vt:lpstr>Master 4 : 3 Standard</vt:lpstr>
      <vt:lpstr>PowerShell goes  Software Engineering</vt:lpstr>
      <vt:lpstr>Inhaltsverzeichnis</vt:lpstr>
      <vt:lpstr>PowerPoint-Präsentation</vt:lpstr>
      <vt:lpstr>Einordnung des Vortrags</vt:lpstr>
      <vt:lpstr>PowerPoint-Präsentation</vt:lpstr>
      <vt:lpstr>Einordnung von PowerShell</vt:lpstr>
      <vt:lpstr>PowerPoint-Präsentation</vt:lpstr>
      <vt:lpstr>Software Engineering – auch für Skriptsprachen</vt:lpstr>
      <vt:lpstr>Idee: PowerShell goes Software Engineering</vt:lpstr>
      <vt:lpstr>Idee: PowerShell goes Software Engineering</vt:lpstr>
      <vt:lpstr>Idee: PowerShell goes Software Engineering</vt:lpstr>
      <vt:lpstr>Idee: PowerShell goes Software Engineering</vt:lpstr>
      <vt:lpstr>Idee: PowerShell goes Software Engineering</vt:lpstr>
      <vt:lpstr>Idee: PowerShell goes Software Engineering</vt:lpstr>
      <vt:lpstr>Idee: PowerShell goes Software Engineering</vt:lpstr>
      <vt:lpstr>Idee: PowerShell goes Software Engineering</vt:lpstr>
      <vt:lpstr>PowerPoint-Präsentation</vt:lpstr>
      <vt:lpstr>PowerPoint-Präsentation</vt:lpstr>
      <vt:lpstr>PowerPoint-Präsentation</vt:lpstr>
      <vt:lpstr>Familiy Summary</vt:lpstr>
      <vt:lpstr>Fragen, Anregungen, Diskussion… </vt:lpstr>
      <vt:lpstr>PowerPoint-Präsentation</vt:lpstr>
      <vt:lpstr>Kurze Vorstellung </vt:lpstr>
    </vt:vector>
  </TitlesOfParts>
  <Company>GA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xgadlnd</dc:creator>
  <cp:lastModifiedBy>xgadlnd</cp:lastModifiedBy>
  <cp:revision>146</cp:revision>
  <dcterms:created xsi:type="dcterms:W3CDTF">2016-01-13T10:12:06Z</dcterms:created>
  <dcterms:modified xsi:type="dcterms:W3CDTF">2016-04-03T10:34:31Z</dcterms:modified>
</cp:coreProperties>
</file>